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3.xml" ContentType="application/vnd.openxmlformats-officedocument.theme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4.xml" ContentType="application/vnd.openxmlformats-officedocument.theme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5.xml" ContentType="application/vnd.openxmlformats-officedocument.theme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theme/theme6.xml" ContentType="application/vnd.openxmlformats-officedocument.theme+xml"/>
  <Override PartName="/ppt/tags/tag4.xml" ContentType="application/vnd.openxmlformats-officedocument.presentationml.tags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theme/theme7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theme/theme8.xml" ContentType="application/vnd.openxmlformats-officedocument.them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 bookmarkIdSeed="2">
  <p:sldMasterIdLst>
    <p:sldMasterId id="2147483688" r:id="rId4"/>
    <p:sldMasterId id="2147483716" r:id="rId5"/>
    <p:sldMasterId id="2147483745" r:id="rId6"/>
    <p:sldMasterId id="2147483786" r:id="rId7"/>
    <p:sldMasterId id="2147483827" r:id="rId8"/>
    <p:sldMasterId id="2147483852" r:id="rId9"/>
    <p:sldMasterId id="2147483959" r:id="rId10"/>
    <p:sldMasterId id="2147483972" r:id="rId11"/>
  </p:sldMasterIdLst>
  <p:notesMasterIdLst>
    <p:notesMasterId r:id="rId51"/>
  </p:notesMasterIdLst>
  <p:handoutMasterIdLst>
    <p:handoutMasterId r:id="rId52"/>
  </p:handoutMasterIdLst>
  <p:sldIdLst>
    <p:sldId id="313" r:id="rId12"/>
    <p:sldId id="505" r:id="rId13"/>
    <p:sldId id="3404" r:id="rId14"/>
    <p:sldId id="3405" r:id="rId15"/>
    <p:sldId id="3406" r:id="rId16"/>
    <p:sldId id="3407" r:id="rId17"/>
    <p:sldId id="469" r:id="rId18"/>
    <p:sldId id="793" r:id="rId19"/>
    <p:sldId id="3401" r:id="rId20"/>
    <p:sldId id="3408" r:id="rId21"/>
    <p:sldId id="547" r:id="rId22"/>
    <p:sldId id="3402" r:id="rId23"/>
    <p:sldId id="792" r:id="rId24"/>
    <p:sldId id="552" r:id="rId25"/>
    <p:sldId id="551" r:id="rId26"/>
    <p:sldId id="539" r:id="rId27"/>
    <p:sldId id="550" r:id="rId28"/>
    <p:sldId id="549" r:id="rId29"/>
    <p:sldId id="540" r:id="rId30"/>
    <p:sldId id="542" r:id="rId31"/>
    <p:sldId id="537" r:id="rId32"/>
    <p:sldId id="546" r:id="rId33"/>
    <p:sldId id="548" r:id="rId34"/>
    <p:sldId id="3403" r:id="rId35"/>
    <p:sldId id="660" r:id="rId36"/>
    <p:sldId id="662" r:id="rId37"/>
    <p:sldId id="663" r:id="rId38"/>
    <p:sldId id="664" r:id="rId39"/>
    <p:sldId id="676" r:id="rId40"/>
    <p:sldId id="665" r:id="rId41"/>
    <p:sldId id="666" r:id="rId42"/>
    <p:sldId id="661" r:id="rId43"/>
    <p:sldId id="667" r:id="rId44"/>
    <p:sldId id="668" r:id="rId45"/>
    <p:sldId id="673" r:id="rId46"/>
    <p:sldId id="675" r:id="rId47"/>
    <p:sldId id="674" r:id="rId48"/>
    <p:sldId id="669" r:id="rId49"/>
    <p:sldId id="3409" r:id="rId50"/>
  </p:sldIdLst>
  <p:sldSz cx="9144000" cy="5143500" type="screen16x9"/>
  <p:notesSz cx="6858000" cy="9144000"/>
  <p:defaultTextStyle>
    <a:defPPr>
      <a:defRPr lang="fr-FR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643" userDrawn="1">
          <p15:clr>
            <a:srgbClr val="A4A3A4"/>
          </p15:clr>
        </p15:guide>
        <p15:guide id="4" orient="horz" pos="299">
          <p15:clr>
            <a:srgbClr val="A4A3A4"/>
          </p15:clr>
        </p15:guide>
        <p15:guide id="5" pos="2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C428718-1965-77AE-F99A-745C7438B96E}" name="INTRONATI Guido (ITNOVEM)" initials="I(" userId="S::fgii01831@commun.ad.sncf.fr::9f6edb12-49b1-4651-8b76-d43a3440c460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UPUIS Laura (ITNOVEM)" initials="DL(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D0037"/>
    <a:srgbClr val="C2FF3B"/>
    <a:srgbClr val="82BE00"/>
    <a:srgbClr val="E05206"/>
    <a:srgbClr val="37B612"/>
    <a:srgbClr val="009AA6"/>
    <a:srgbClr val="0088CE"/>
    <a:srgbClr val="D2E100"/>
    <a:srgbClr val="6E1E78"/>
    <a:srgbClr val="8278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1B5B7FA-6E6B-459E-CAA7-05A7452F2197}" v="199" dt="2022-01-16T18:34:22.117"/>
    <p1510:client id="{74FE1EBF-1BA8-4C1C-9B69-37E54451576D}" v="778" dt="2022-01-17T06:41:19.604"/>
    <p1510:client id="{F7BF5B50-4B46-B643-5A51-BFE28DC291F0}" v="10" dt="2022-01-17T09:39:53.15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4" d="100"/>
          <a:sy n="114" d="100"/>
        </p:scale>
        <p:origin x="714" y="96"/>
      </p:cViewPr>
      <p:guideLst>
        <p:guide orient="horz" pos="1620"/>
        <p:guide pos="2880"/>
        <p:guide orient="horz" pos="1643"/>
        <p:guide orient="horz" pos="299"/>
        <p:guide pos="2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slide" Target="slides/slide28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slide" Target="slides/slide31.xml"/><Relationship Id="rId47" Type="http://schemas.openxmlformats.org/officeDocument/2006/relationships/slide" Target="slides/slide36.xml"/><Relationship Id="rId50" Type="http://schemas.openxmlformats.org/officeDocument/2006/relationships/slide" Target="slides/slide39.xml"/><Relationship Id="rId55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9" Type="http://schemas.openxmlformats.org/officeDocument/2006/relationships/slide" Target="slides/slide18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slide" Target="slides/slide29.xml"/><Relationship Id="rId45" Type="http://schemas.openxmlformats.org/officeDocument/2006/relationships/slide" Target="slides/slide34.xml"/><Relationship Id="rId53" Type="http://schemas.openxmlformats.org/officeDocument/2006/relationships/commentAuthors" Target="commentAuthors.xml"/><Relationship Id="rId58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9" Type="http://schemas.openxmlformats.org/officeDocument/2006/relationships/slide" Target="slides/slide8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slide" Target="slides/slide32.xml"/><Relationship Id="rId48" Type="http://schemas.openxmlformats.org/officeDocument/2006/relationships/slide" Target="slides/slide37.xml"/><Relationship Id="rId56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51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slide" Target="slides/slide35.xml"/><Relationship Id="rId59" Type="http://schemas.microsoft.com/office/2018/10/relationships/authors" Target="authors.xml"/><Relationship Id="rId20" Type="http://schemas.openxmlformats.org/officeDocument/2006/relationships/slide" Target="slides/slide9.xml"/><Relationship Id="rId41" Type="http://schemas.openxmlformats.org/officeDocument/2006/relationships/slide" Target="slides/slide30.xml"/><Relationship Id="rId54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49" Type="http://schemas.openxmlformats.org/officeDocument/2006/relationships/slide" Target="slides/slide38.xml"/><Relationship Id="rId57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20.xml"/><Relationship Id="rId44" Type="http://schemas.openxmlformats.org/officeDocument/2006/relationships/slide" Target="slides/slide33.xml"/><Relationship Id="rId52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8FABE2-1CA9-4AB9-826C-A270869874F5}" type="datetimeFigureOut">
              <a:rPr lang="fr-FR" smtClean="0"/>
              <a:t>17/01/2022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B44D05-F708-468D-B7C2-2EC28114A29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578382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634F43-DA38-764E-8630-3CED3B0D62B7}" type="datetimeFigureOut">
              <a:rPr lang="fr-FR" smtClean="0"/>
              <a:t>17/01/2022</a:t>
            </a:fld>
            <a:endParaRPr lang="fr-FR"/>
          </a:p>
        </p:txBody>
      </p:sp>
      <p:sp>
        <p:nvSpPr>
          <p:cNvPr id="4" name="Espace réservé de l’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79048BA-9623-A749-BC15-302FB164A80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779123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>
                <a:solidFill>
                  <a:prstClr val="black"/>
                </a:solidFill>
              </a:rPr>
              <a:pPr/>
              <a:t>1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328804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FR"/>
          </a:p>
        </p:txBody>
      </p:sp>
    </p:spTree>
    <p:extLst>
      <p:ext uri="{BB962C8B-B14F-4D97-AF65-F5344CB8AC3E}">
        <p14:creationId xmlns:p14="http://schemas.microsoft.com/office/powerpoint/2010/main" val="204447896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44F9B6-049B-41F4-ABC6-38924C38355D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130815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>
                <a:solidFill>
                  <a:prstClr val="black"/>
                </a:solidFill>
              </a:rPr>
              <a:pPr/>
              <a:t>24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64938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>
                <a:solidFill>
                  <a:prstClr val="black"/>
                </a:solidFill>
              </a:rPr>
              <a:pPr/>
              <a:t>39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7004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>
                <a:solidFill>
                  <a:prstClr val="black"/>
                </a:solidFill>
              </a:rPr>
              <a:pPr/>
              <a:t>7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15787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038785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4F7E3A-B4C5-406B-9D4B-647391AB67E1}" type="slidenum">
              <a:rPr lang="fr-FR" smtClean="0">
                <a:solidFill>
                  <a:prstClr val="black"/>
                </a:solidFill>
              </a:rPr>
              <a:pPr/>
              <a:t>9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01459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4F7E3A-B4C5-406B-9D4B-647391AB67E1}" type="slidenum">
              <a:rPr lang="fr-FR" smtClean="0">
                <a:solidFill>
                  <a:prstClr val="black"/>
                </a:solidFill>
              </a:rPr>
              <a:pPr/>
              <a:t>10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56535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4F7E3A-B4C5-406B-9D4B-647391AB67E1}" type="slidenum">
              <a:rPr lang="fr-FR" smtClean="0">
                <a:solidFill>
                  <a:prstClr val="black"/>
                </a:solidFill>
              </a:rPr>
              <a:pPr/>
              <a:t>11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43469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4F7E3A-B4C5-406B-9D4B-647391AB67E1}" type="slidenum">
              <a:rPr lang="fr-FR" smtClean="0">
                <a:solidFill>
                  <a:prstClr val="black"/>
                </a:solidFill>
              </a:rPr>
              <a:pPr/>
              <a:t>12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79923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>
                <a:solidFill>
                  <a:prstClr val="black"/>
                </a:solidFill>
              </a:rPr>
              <a:pPr/>
              <a:t>13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248911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FR"/>
          </a:p>
        </p:txBody>
      </p:sp>
    </p:spTree>
    <p:extLst>
      <p:ext uri="{BB962C8B-B14F-4D97-AF65-F5344CB8AC3E}">
        <p14:creationId xmlns:p14="http://schemas.microsoft.com/office/powerpoint/2010/main" val="38702570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1.png"/><Relationship Id="rId4" Type="http://schemas.openxmlformats.org/officeDocument/2006/relationships/image" Target="../media/image9.pn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13.png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13.png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1.png"/><Relationship Id="rId5" Type="http://schemas.openxmlformats.org/officeDocument/2006/relationships/image" Target="../media/image14.png"/><Relationship Id="rId4" Type="http://schemas.openxmlformats.org/officeDocument/2006/relationships/image" Target="../media/image9.pn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5.png"/><Relationship Id="rId5" Type="http://schemas.openxmlformats.org/officeDocument/2006/relationships/image" Target="../media/image13.png"/><Relationship Id="rId4" Type="http://schemas.openxmlformats.org/officeDocument/2006/relationships/image" Target="../media/image9.pn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9.png"/><Relationship Id="rId5" Type="http://schemas.openxmlformats.org/officeDocument/2006/relationships/image" Target="../media/image11.png"/><Relationship Id="rId4" Type="http://schemas.openxmlformats.org/officeDocument/2006/relationships/image" Target="../media/image8.png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9.png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tags" Target="../tags/tag11.xml"/><Relationship Id="rId7" Type="http://schemas.openxmlformats.org/officeDocument/2006/relationships/oleObject" Target="../embeddings/oleObject6.bin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13.xml"/><Relationship Id="rId10" Type="http://schemas.openxmlformats.org/officeDocument/2006/relationships/oleObject" Target="../embeddings/oleObject7.bin"/><Relationship Id="rId4" Type="http://schemas.openxmlformats.org/officeDocument/2006/relationships/tags" Target="../tags/tag12.xml"/><Relationship Id="rId9" Type="http://schemas.openxmlformats.org/officeDocument/2006/relationships/image" Target="../media/image20.png"/></Relationships>
</file>

<file path=ppt/slideLayouts/_rels/slideLayout1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tags" Target="../tags/tag15.xml"/><Relationship Id="rId7" Type="http://schemas.openxmlformats.org/officeDocument/2006/relationships/oleObject" Target="../embeddings/oleObject8.bin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17.xml"/><Relationship Id="rId10" Type="http://schemas.openxmlformats.org/officeDocument/2006/relationships/oleObject" Target="../embeddings/oleObject9.bin"/><Relationship Id="rId4" Type="http://schemas.openxmlformats.org/officeDocument/2006/relationships/tags" Target="../tags/tag16.xml"/><Relationship Id="rId9" Type="http://schemas.openxmlformats.org/officeDocument/2006/relationships/image" Target="../media/image20.png"/></Relationships>
</file>

<file path=ppt/slideLayouts/_rels/slideLayout16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19.xml"/><Relationship Id="rId7" Type="http://schemas.openxmlformats.org/officeDocument/2006/relationships/slideMaster" Target="../slideMasters/slideMaster7.xml"/><Relationship Id="rId2" Type="http://schemas.openxmlformats.org/officeDocument/2006/relationships/tags" Target="../tags/tag18.xml"/><Relationship Id="rId1" Type="http://schemas.openxmlformats.org/officeDocument/2006/relationships/vmlDrawing" Target="../drawings/vmlDrawing8.vml"/><Relationship Id="rId6" Type="http://schemas.openxmlformats.org/officeDocument/2006/relationships/tags" Target="../tags/tag22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21.xml"/><Relationship Id="rId10" Type="http://schemas.openxmlformats.org/officeDocument/2006/relationships/image" Target="../media/image20.png"/><Relationship Id="rId4" Type="http://schemas.openxmlformats.org/officeDocument/2006/relationships/tags" Target="../tags/tag20.xml"/><Relationship Id="rId9" Type="http://schemas.openxmlformats.org/officeDocument/2006/relationships/image" Target="../media/image19.emf"/></Relationships>
</file>

<file path=ppt/slideLayouts/_rels/slideLayout16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tags" Target="../tags/tag24.xml"/><Relationship Id="rId7" Type="http://schemas.openxmlformats.org/officeDocument/2006/relationships/slideMaster" Target="../slideMasters/slideMaster7.xml"/><Relationship Id="rId2" Type="http://schemas.openxmlformats.org/officeDocument/2006/relationships/tags" Target="../tags/tag23.xml"/><Relationship Id="rId1" Type="http://schemas.openxmlformats.org/officeDocument/2006/relationships/vmlDrawing" Target="../drawings/vmlDrawing9.vml"/><Relationship Id="rId6" Type="http://schemas.openxmlformats.org/officeDocument/2006/relationships/tags" Target="../tags/tag27.xml"/><Relationship Id="rId11" Type="http://schemas.openxmlformats.org/officeDocument/2006/relationships/oleObject" Target="../embeddings/oleObject13.bin"/><Relationship Id="rId5" Type="http://schemas.openxmlformats.org/officeDocument/2006/relationships/tags" Target="../tags/tag26.xml"/><Relationship Id="rId10" Type="http://schemas.openxmlformats.org/officeDocument/2006/relationships/image" Target="../media/image20.png"/><Relationship Id="rId4" Type="http://schemas.openxmlformats.org/officeDocument/2006/relationships/tags" Target="../tags/tag25.xml"/><Relationship Id="rId9" Type="http://schemas.openxmlformats.org/officeDocument/2006/relationships/image" Target="../media/image19.emf"/></Relationships>
</file>

<file path=ppt/slideLayouts/_rels/slideLayout1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tags" Target="../tags/tag29.xml"/><Relationship Id="rId7" Type="http://schemas.openxmlformats.org/officeDocument/2006/relationships/oleObject" Target="../embeddings/oleObject14.bin"/><Relationship Id="rId2" Type="http://schemas.openxmlformats.org/officeDocument/2006/relationships/tags" Target="../tags/tag28.xml"/><Relationship Id="rId1" Type="http://schemas.openxmlformats.org/officeDocument/2006/relationships/vmlDrawing" Target="../drawings/vmlDrawing10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31.xml"/><Relationship Id="rId10" Type="http://schemas.openxmlformats.org/officeDocument/2006/relationships/oleObject" Target="../embeddings/oleObject15.bin"/><Relationship Id="rId4" Type="http://schemas.openxmlformats.org/officeDocument/2006/relationships/tags" Target="../tags/tag30.xml"/><Relationship Id="rId9" Type="http://schemas.openxmlformats.org/officeDocument/2006/relationships/image" Target="../media/image20.png"/></Relationships>
</file>

<file path=ppt/slideLayouts/_rels/slideLayout1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tags" Target="../tags/tag33.xml"/><Relationship Id="rId7" Type="http://schemas.openxmlformats.org/officeDocument/2006/relationships/oleObject" Target="../embeddings/oleObject16.bin"/><Relationship Id="rId2" Type="http://schemas.openxmlformats.org/officeDocument/2006/relationships/tags" Target="../tags/tag32.xml"/><Relationship Id="rId1" Type="http://schemas.openxmlformats.org/officeDocument/2006/relationships/vmlDrawing" Target="../drawings/vmlDrawing11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35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34.xml"/><Relationship Id="rId9" Type="http://schemas.openxmlformats.org/officeDocument/2006/relationships/image" Target="../media/image20.png"/></Relationships>
</file>

<file path=ppt/slideLayouts/_rels/slideLayout1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tags" Target="../tags/tag37.xml"/><Relationship Id="rId7" Type="http://schemas.openxmlformats.org/officeDocument/2006/relationships/oleObject" Target="../embeddings/oleObject18.bin"/><Relationship Id="rId2" Type="http://schemas.openxmlformats.org/officeDocument/2006/relationships/tags" Target="../tags/tag36.xml"/><Relationship Id="rId1" Type="http://schemas.openxmlformats.org/officeDocument/2006/relationships/vmlDrawing" Target="../drawings/vmlDrawing12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39.xml"/><Relationship Id="rId10" Type="http://schemas.openxmlformats.org/officeDocument/2006/relationships/oleObject" Target="../embeddings/oleObject19.bin"/><Relationship Id="rId4" Type="http://schemas.openxmlformats.org/officeDocument/2006/relationships/tags" Target="../tags/tag38.xml"/><Relationship Id="rId9" Type="http://schemas.openxmlformats.org/officeDocument/2006/relationships/image" Target="../media/image20.png"/></Relationships>
</file>

<file path=ppt/slideLayouts/_rels/slideLayout1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tags" Target="../tags/tag41.xml"/><Relationship Id="rId7" Type="http://schemas.openxmlformats.org/officeDocument/2006/relationships/oleObject" Target="../embeddings/oleObject20.bin"/><Relationship Id="rId2" Type="http://schemas.openxmlformats.org/officeDocument/2006/relationships/tags" Target="../tags/tag40.xml"/><Relationship Id="rId1" Type="http://schemas.openxmlformats.org/officeDocument/2006/relationships/vmlDrawing" Target="../drawings/vmlDrawing13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43.xml"/><Relationship Id="rId10" Type="http://schemas.openxmlformats.org/officeDocument/2006/relationships/oleObject" Target="../embeddings/oleObject21.bin"/><Relationship Id="rId4" Type="http://schemas.openxmlformats.org/officeDocument/2006/relationships/tags" Target="../tags/tag42.xml"/><Relationship Id="rId9" Type="http://schemas.openxmlformats.org/officeDocument/2006/relationships/image" Target="../media/image20.png"/></Relationships>
</file>

<file path=ppt/slideLayouts/_rels/slideLayout1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tags" Target="../tags/tag45.xml"/><Relationship Id="rId7" Type="http://schemas.openxmlformats.org/officeDocument/2006/relationships/oleObject" Target="../embeddings/oleObject22.bin"/><Relationship Id="rId2" Type="http://schemas.openxmlformats.org/officeDocument/2006/relationships/tags" Target="../tags/tag44.xml"/><Relationship Id="rId1" Type="http://schemas.openxmlformats.org/officeDocument/2006/relationships/vmlDrawing" Target="../drawings/vmlDrawing14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47.xml"/><Relationship Id="rId10" Type="http://schemas.openxmlformats.org/officeDocument/2006/relationships/oleObject" Target="../embeddings/oleObject23.bin"/><Relationship Id="rId4" Type="http://schemas.openxmlformats.org/officeDocument/2006/relationships/tags" Target="../tags/tag46.xml"/><Relationship Id="rId9" Type="http://schemas.openxmlformats.org/officeDocument/2006/relationships/image" Target="../media/image20.png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8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9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5.bin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png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1.png"/><Relationship Id="rId4" Type="http://schemas.openxmlformats.org/officeDocument/2006/relationships/image" Target="../media/image9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13.pn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13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1.png"/><Relationship Id="rId5" Type="http://schemas.openxmlformats.org/officeDocument/2006/relationships/image" Target="../media/image14.png"/><Relationship Id="rId4" Type="http://schemas.openxmlformats.org/officeDocument/2006/relationships/image" Target="../media/image9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5.png"/><Relationship Id="rId5" Type="http://schemas.openxmlformats.org/officeDocument/2006/relationships/image" Target="../media/image13.png"/><Relationship Id="rId4" Type="http://schemas.openxmlformats.org/officeDocument/2006/relationships/image" Target="../media/image9.pn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9.png"/><Relationship Id="rId5" Type="http://schemas.openxmlformats.org/officeDocument/2006/relationships/image" Target="../media/image11.png"/><Relationship Id="rId4" Type="http://schemas.openxmlformats.org/officeDocument/2006/relationships/image" Target="../media/image8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png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9.png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3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fr-FR"/>
              <a:t>Cliquez et modifiez le titr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9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/>
              <a:t>Cliquez pour modifier le style des sous-titres du masqu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3"/>
          </a:xfrm>
          <a:prstGeom prst="rect">
            <a:avLst/>
          </a:prstGeom>
        </p:spPr>
        <p:txBody>
          <a:bodyPr/>
          <a:lstStyle/>
          <a:p>
            <a:fld id="{D91DC166-3F88-4849-A61A-AD75C82AAE0A}" type="datetimeFigureOut">
              <a:rPr lang="fr-FR" smtClean="0"/>
              <a:t>17/01/202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3"/>
          </a:xfrm>
          <a:prstGeom prst="rect">
            <a:avLst/>
          </a:prstGeom>
        </p:spPr>
        <p:txBody>
          <a:bodyPr/>
          <a:lstStyle/>
          <a:p>
            <a:fld id="{44AC34E9-4D80-9947-9379-C8B62DEAC814}" type="slidenum">
              <a:rPr lang="fr-FR" smtClean="0"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3"/>
          </a:xfrm>
          <a:prstGeom prst="rect">
            <a:avLst/>
          </a:prstGeom>
        </p:spPr>
        <p:txBody>
          <a:bodyPr/>
          <a:lstStyle/>
          <a:p>
            <a:fld id="{D91DC166-3F88-4849-A61A-AD75C82AAE0A}" type="datetimeFigureOut">
              <a:rPr lang="fr-FR" smtClean="0"/>
              <a:t>17/01/202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3"/>
          </a:xfrm>
          <a:prstGeom prst="rect">
            <a:avLst/>
          </a:prstGeom>
        </p:spPr>
        <p:txBody>
          <a:bodyPr/>
          <a:lstStyle/>
          <a:p>
            <a:fld id="{44AC34E9-4D80-9947-9379-C8B62DEAC814}" type="slidenum">
              <a:rPr lang="fr-FR" smtClean="0"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5414" y="4540931"/>
            <a:ext cx="457240" cy="452667"/>
          </a:xfrm>
          <a:prstGeom prst="rect">
            <a:avLst/>
          </a:prstGeom>
        </p:spPr>
      </p:pic>
      <p:pic>
        <p:nvPicPr>
          <p:cNvPr id="2" name="Image 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78089" y="-588613"/>
            <a:ext cx="5784163" cy="6065990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23528" y="4636975"/>
            <a:ext cx="502964" cy="260627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5717" y="-1393721"/>
            <a:ext cx="4183742" cy="4394073"/>
          </a:xfrm>
          <a:prstGeom prst="rect">
            <a:avLst/>
          </a:prstGeom>
        </p:spPr>
      </p:pic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5791630" y="1688155"/>
            <a:ext cx="3034862" cy="994172"/>
          </a:xfrm>
          <a:prstGeom prst="rect">
            <a:avLst/>
          </a:prstGeom>
        </p:spPr>
        <p:txBody>
          <a:bodyPr lIns="68562" tIns="34289" rIns="68562" bIns="34289"/>
          <a:lstStyle>
            <a:lvl1pPr>
              <a:defRPr sz="2300" b="1">
                <a:solidFill>
                  <a:schemeClr val="bg1"/>
                </a:solidFill>
                <a:latin typeface="Avenir LT Std 65 Medium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/>
          </p:nvPr>
        </p:nvSpPr>
        <p:spPr>
          <a:xfrm>
            <a:off x="5792095" y="2863704"/>
            <a:ext cx="3034903" cy="1103710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1200">
                <a:solidFill>
                  <a:schemeClr val="bg1"/>
                </a:solidFill>
                <a:latin typeface="Avenir Book"/>
              </a:defRPr>
            </a:lvl1pPr>
          </a:lstStyle>
          <a:p>
            <a:pPr lvl="0"/>
            <a:r>
              <a:rPr lang="fr-FR"/>
              <a:t>Modifiez les styles du texte </a:t>
            </a:r>
          </a:p>
        </p:txBody>
      </p:sp>
    </p:spTree>
    <p:extLst>
      <p:ext uri="{BB962C8B-B14F-4D97-AF65-F5344CB8AC3E}">
        <p14:creationId xmlns:p14="http://schemas.microsoft.com/office/powerpoint/2010/main" val="258306672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9144002" cy="51435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1138" y="-2794360"/>
            <a:ext cx="4904532" cy="5143500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6457990" y="-3581261"/>
            <a:ext cx="4899509" cy="5143500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5414" y="4540931"/>
            <a:ext cx="457240" cy="452667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23528" y="4636975"/>
            <a:ext cx="502964" cy="260627"/>
          </a:xfrm>
          <a:prstGeom prst="rect">
            <a:avLst/>
          </a:prstGeom>
        </p:spPr>
      </p:pic>
      <p:sp>
        <p:nvSpPr>
          <p:cNvPr id="3" name="Espace réservé du texte 2"/>
          <p:cNvSpPr>
            <a:spLocks noGrp="1"/>
          </p:cNvSpPr>
          <p:nvPr>
            <p:ph type="body" sz="quarter" idx="13"/>
          </p:nvPr>
        </p:nvSpPr>
        <p:spPr>
          <a:xfrm>
            <a:off x="772733" y="1774031"/>
            <a:ext cx="3539153" cy="2466975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1100">
                <a:latin typeface="Avenir LT Std 65 Medium"/>
              </a:defRPr>
            </a:lvl1pPr>
          </a:lstStyle>
          <a:p>
            <a:pPr lvl="0"/>
            <a:r>
              <a:rPr lang="fr-FR"/>
              <a:t>Modifiez les styles du texte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4"/>
          </p:nvPr>
        </p:nvSpPr>
        <p:spPr>
          <a:xfrm>
            <a:off x="772716" y="465577"/>
            <a:ext cx="4540264" cy="827198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lang="fr-FR" sz="2300" b="1" kern="1200" baseline="0" dirty="0">
                <a:solidFill>
                  <a:schemeClr val="tx1"/>
                </a:solidFill>
                <a:latin typeface="Avenir LT Std 65 Medium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difiez les styles du texte</a:t>
            </a:r>
            <a:r>
              <a:rPr lang="fr-FR" sz="2300" b="1" cap="none">
                <a:solidFill>
                  <a:srgbClr val="76B900"/>
                </a:solidFill>
                <a:ea typeface="Avenir Black" charset="0"/>
                <a:cs typeface="Avenir Black" charset="0"/>
              </a:rPr>
              <a:t> </a:t>
            </a:r>
            <a:endParaRPr lang="fr-FR"/>
          </a:p>
        </p:txBody>
      </p:sp>
      <p:sp>
        <p:nvSpPr>
          <p:cNvPr id="13" name="Espace réservé pour une image  12"/>
          <p:cNvSpPr>
            <a:spLocks noGrp="1"/>
          </p:cNvSpPr>
          <p:nvPr>
            <p:ph type="pic" sz="quarter" idx="15"/>
          </p:nvPr>
        </p:nvSpPr>
        <p:spPr>
          <a:xfrm>
            <a:off x="4863705" y="1562239"/>
            <a:ext cx="3459824" cy="2678768"/>
          </a:xfrm>
          <a:prstGeom prst="rect">
            <a:avLst/>
          </a:prstGeom>
        </p:spPr>
        <p:txBody>
          <a:bodyPr lIns="68562" tIns="34289" rIns="68562" bIns="34289"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0416519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9144002" cy="51435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1138" y="-2794360"/>
            <a:ext cx="4904532" cy="5143500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6457990" y="-3581261"/>
            <a:ext cx="4899509" cy="5143500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5414" y="4540931"/>
            <a:ext cx="457240" cy="452667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23528" y="4636975"/>
            <a:ext cx="502964" cy="260627"/>
          </a:xfrm>
          <a:prstGeom prst="rect">
            <a:avLst/>
          </a:prstGeom>
        </p:spPr>
      </p:pic>
      <p:sp>
        <p:nvSpPr>
          <p:cNvPr id="3" name="Espace réservé du texte 2"/>
          <p:cNvSpPr>
            <a:spLocks noGrp="1"/>
          </p:cNvSpPr>
          <p:nvPr>
            <p:ph type="body" sz="quarter" idx="13"/>
          </p:nvPr>
        </p:nvSpPr>
        <p:spPr>
          <a:xfrm>
            <a:off x="4572001" y="1766228"/>
            <a:ext cx="3531476" cy="2466975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1100">
                <a:latin typeface="Avenir LT Std 65 Medium"/>
              </a:defRPr>
            </a:lvl1pPr>
          </a:lstStyle>
          <a:p>
            <a:pPr lvl="0"/>
            <a:r>
              <a:rPr lang="fr-FR"/>
              <a:t>Modifiez les styles du texte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4"/>
          </p:nvPr>
        </p:nvSpPr>
        <p:spPr>
          <a:xfrm>
            <a:off x="772748" y="465577"/>
            <a:ext cx="4540263" cy="819314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2300" b="1" baseline="0">
                <a:solidFill>
                  <a:srgbClr val="76B900"/>
                </a:solidFill>
                <a:latin typeface="Avenir LT Std 65 Medium"/>
              </a:defRPr>
            </a:lvl1pPr>
          </a:lstStyle>
          <a:p>
            <a:pPr lvl="0"/>
            <a:r>
              <a:rPr lang="fr-FR"/>
              <a:t>Modifiez les styles </a:t>
            </a:r>
            <a:r>
              <a:rPr lang="fr-FR" sz="2300" b="1" cap="none">
                <a:solidFill>
                  <a:srgbClr val="76B900"/>
                </a:solidFill>
                <a:ea typeface="Avenir Black" charset="0"/>
                <a:cs typeface="Avenir Black" charset="0"/>
              </a:rPr>
              <a:t>du texte </a:t>
            </a:r>
            <a:endParaRPr lang="fr-FR"/>
          </a:p>
        </p:txBody>
      </p:sp>
      <p:sp>
        <p:nvSpPr>
          <p:cNvPr id="13" name="Espace réservé pour une image  12"/>
          <p:cNvSpPr>
            <a:spLocks noGrp="1"/>
          </p:cNvSpPr>
          <p:nvPr>
            <p:ph type="pic" sz="quarter" idx="15"/>
          </p:nvPr>
        </p:nvSpPr>
        <p:spPr>
          <a:xfrm>
            <a:off x="772717" y="1426780"/>
            <a:ext cx="3459824" cy="2806424"/>
          </a:xfrm>
          <a:prstGeom prst="rect">
            <a:avLst/>
          </a:prstGeom>
        </p:spPr>
        <p:txBody>
          <a:bodyPr lIns="68562" tIns="34289" rIns="68562" bIns="34289"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9118930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0"/>
            <a:ext cx="9144002" cy="5143500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5414" y="4540931"/>
            <a:ext cx="457240" cy="452667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23528" y="4636975"/>
            <a:ext cx="502964" cy="260627"/>
          </a:xfrm>
          <a:prstGeom prst="rect">
            <a:avLst/>
          </a:prstGeom>
        </p:spPr>
      </p:pic>
      <p:pic>
        <p:nvPicPr>
          <p:cNvPr id="2" name="Image 1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4634" y="-3761061"/>
            <a:ext cx="5008740" cy="5266020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94781" y="-3230872"/>
            <a:ext cx="4183742" cy="4394073"/>
          </a:xfrm>
          <a:prstGeom prst="rect">
            <a:avLst/>
          </a:prstGeom>
        </p:spPr>
      </p:pic>
      <p:sp>
        <p:nvSpPr>
          <p:cNvPr id="5" name="Espace réservé du texte 4"/>
          <p:cNvSpPr>
            <a:spLocks noGrp="1"/>
          </p:cNvSpPr>
          <p:nvPr>
            <p:ph type="body" sz="quarter" idx="15"/>
          </p:nvPr>
        </p:nvSpPr>
        <p:spPr>
          <a:xfrm>
            <a:off x="796366" y="489223"/>
            <a:ext cx="4516616" cy="838574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2300" b="1">
                <a:solidFill>
                  <a:srgbClr val="76B900"/>
                </a:solidFill>
                <a:latin typeface="Avenir LT Std 65 Medium"/>
              </a:defRPr>
            </a:lvl1pPr>
          </a:lstStyle>
          <a:p>
            <a:pPr lvl="0"/>
            <a:r>
              <a:rPr lang="fr-FR"/>
              <a:t>Modifiez les styles </a:t>
            </a:r>
            <a:r>
              <a:rPr lang="fr-FR" sz="2300" b="1" cap="none">
                <a:solidFill>
                  <a:srgbClr val="76B900"/>
                </a:solidFill>
                <a:ea typeface="Avenir Black" charset="0"/>
                <a:cs typeface="Avenir Black" charset="0"/>
              </a:rPr>
              <a:t>du texte </a:t>
            </a:r>
            <a:endParaRPr lang="fr-FR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6"/>
          </p:nvPr>
        </p:nvSpPr>
        <p:spPr>
          <a:xfrm>
            <a:off x="796366" y="3397331"/>
            <a:ext cx="2490746" cy="922735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1100">
                <a:latin typeface="Avenir Light"/>
              </a:defRPr>
            </a:lvl1pPr>
          </a:lstStyle>
          <a:p>
            <a:pPr lvl="0"/>
            <a:r>
              <a:rPr lang="fr-FR"/>
              <a:t>Modifiez les styles du texte</a:t>
            </a:r>
          </a:p>
        </p:txBody>
      </p:sp>
      <p:sp>
        <p:nvSpPr>
          <p:cNvPr id="16" name="Espace réservé du texte 8"/>
          <p:cNvSpPr>
            <a:spLocks noGrp="1"/>
          </p:cNvSpPr>
          <p:nvPr>
            <p:ph type="body" sz="quarter" idx="17"/>
          </p:nvPr>
        </p:nvSpPr>
        <p:spPr>
          <a:xfrm>
            <a:off x="3559273" y="3397331"/>
            <a:ext cx="2490746" cy="922735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1100">
                <a:latin typeface="Avenir Light"/>
              </a:defRPr>
            </a:lvl1pPr>
          </a:lstStyle>
          <a:p>
            <a:pPr lvl="0"/>
            <a:r>
              <a:rPr lang="fr-FR"/>
              <a:t>Modifiez les styles du texte</a:t>
            </a:r>
          </a:p>
        </p:txBody>
      </p:sp>
      <p:sp>
        <p:nvSpPr>
          <p:cNvPr id="17" name="Espace réservé du texte 8"/>
          <p:cNvSpPr>
            <a:spLocks noGrp="1"/>
          </p:cNvSpPr>
          <p:nvPr>
            <p:ph type="body" sz="quarter" idx="18"/>
          </p:nvPr>
        </p:nvSpPr>
        <p:spPr>
          <a:xfrm>
            <a:off x="6309592" y="3397331"/>
            <a:ext cx="2490746" cy="922735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1100">
                <a:latin typeface="Avenir Light"/>
              </a:defRPr>
            </a:lvl1pPr>
          </a:lstStyle>
          <a:p>
            <a:pPr lvl="0"/>
            <a:r>
              <a:rPr lang="fr-FR"/>
              <a:t>Modifiez les styles du texte</a:t>
            </a:r>
          </a:p>
        </p:txBody>
      </p:sp>
      <p:sp>
        <p:nvSpPr>
          <p:cNvPr id="19" name="Espace réservé pour une image  18"/>
          <p:cNvSpPr>
            <a:spLocks noGrp="1"/>
          </p:cNvSpPr>
          <p:nvPr>
            <p:ph type="pic" sz="quarter" idx="19"/>
          </p:nvPr>
        </p:nvSpPr>
        <p:spPr>
          <a:xfrm>
            <a:off x="796529" y="1817020"/>
            <a:ext cx="2490582" cy="1320320"/>
          </a:xfrm>
          <a:prstGeom prst="rect">
            <a:avLst/>
          </a:prstGeom>
        </p:spPr>
        <p:txBody>
          <a:bodyPr lIns="68562" tIns="34289" rIns="68562" bIns="34289"/>
          <a:lstStyle/>
          <a:p>
            <a:endParaRPr lang="fr-FR"/>
          </a:p>
        </p:txBody>
      </p:sp>
      <p:sp>
        <p:nvSpPr>
          <p:cNvPr id="20" name="Espace réservé pour une image  18"/>
          <p:cNvSpPr>
            <a:spLocks noGrp="1"/>
          </p:cNvSpPr>
          <p:nvPr>
            <p:ph type="pic" sz="quarter" idx="20"/>
          </p:nvPr>
        </p:nvSpPr>
        <p:spPr>
          <a:xfrm>
            <a:off x="3559271" y="1817020"/>
            <a:ext cx="2490582" cy="1320320"/>
          </a:xfrm>
          <a:prstGeom prst="rect">
            <a:avLst/>
          </a:prstGeom>
        </p:spPr>
        <p:txBody>
          <a:bodyPr lIns="68562" tIns="34289" rIns="68562" bIns="34289"/>
          <a:lstStyle/>
          <a:p>
            <a:endParaRPr lang="fr-FR"/>
          </a:p>
        </p:txBody>
      </p:sp>
      <p:sp>
        <p:nvSpPr>
          <p:cNvPr id="21" name="Espace réservé pour une image  18"/>
          <p:cNvSpPr>
            <a:spLocks noGrp="1"/>
          </p:cNvSpPr>
          <p:nvPr>
            <p:ph type="pic" sz="quarter" idx="21"/>
          </p:nvPr>
        </p:nvSpPr>
        <p:spPr>
          <a:xfrm>
            <a:off x="6322014" y="1817020"/>
            <a:ext cx="2490582" cy="1320320"/>
          </a:xfrm>
          <a:prstGeom prst="rect">
            <a:avLst/>
          </a:prstGeom>
        </p:spPr>
        <p:txBody>
          <a:bodyPr lIns="68562" tIns="34289" rIns="68562" bIns="34289"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8704956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9144002" cy="5143500"/>
          </a:xfrm>
          <a:prstGeom prst="rect">
            <a:avLst/>
          </a:prstGeom>
        </p:spPr>
      </p:pic>
      <p:pic>
        <p:nvPicPr>
          <p:cNvPr id="2" name="Image 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770785" y="2264566"/>
            <a:ext cx="5008740" cy="5266020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23528" y="4636975"/>
            <a:ext cx="502964" cy="260627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948894" y="2943329"/>
            <a:ext cx="4899509" cy="5143500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9651" y="4539452"/>
            <a:ext cx="457240" cy="452667"/>
          </a:xfrm>
          <a:prstGeom prst="rect">
            <a:avLst/>
          </a:prstGeom>
        </p:spPr>
      </p:pic>
      <p:sp>
        <p:nvSpPr>
          <p:cNvPr id="7" name="Espace réservé du texte 6"/>
          <p:cNvSpPr>
            <a:spLocks noGrp="1"/>
          </p:cNvSpPr>
          <p:nvPr>
            <p:ph type="body" sz="quarter" idx="13" hasCustomPrompt="1"/>
          </p:nvPr>
        </p:nvSpPr>
        <p:spPr>
          <a:xfrm>
            <a:off x="4111486" y="763891"/>
            <a:ext cx="4364831" cy="639242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lang="fr-FR" sz="2300" b="1" kern="1200" cap="none" baseline="0" dirty="0" smtClean="0">
                <a:solidFill>
                  <a:srgbClr val="76B900"/>
                </a:solidFill>
                <a:latin typeface="Avenir LT Std 65 Medium"/>
                <a:ea typeface="Avenir Black" charset="0"/>
                <a:cs typeface="Avenir Black" charset="0"/>
              </a:defRPr>
            </a:lvl1pPr>
          </a:lstStyle>
          <a:p>
            <a:pPr lvl="0"/>
            <a:r>
              <a:rPr lang="fr-FR"/>
              <a:t>Modifiez les styles d</a:t>
            </a:r>
            <a:r>
              <a:rPr lang="fr-FR" sz="2300" b="1" cap="none">
                <a:solidFill>
                  <a:srgbClr val="76B900"/>
                </a:solidFill>
                <a:ea typeface="Avenir Black" charset="0"/>
                <a:cs typeface="Avenir Black" charset="0"/>
              </a:rPr>
              <a:t>u titre</a:t>
            </a:r>
            <a:endParaRPr lang="fr-FR"/>
          </a:p>
        </p:txBody>
      </p:sp>
      <p:sp>
        <p:nvSpPr>
          <p:cNvPr id="19" name="Espace réservé du texte 14"/>
          <p:cNvSpPr>
            <a:spLocks noGrp="1"/>
          </p:cNvSpPr>
          <p:nvPr>
            <p:ph type="body" sz="quarter" idx="16" hasCustomPrompt="1"/>
          </p:nvPr>
        </p:nvSpPr>
        <p:spPr>
          <a:xfrm>
            <a:off x="4111463" y="1614487"/>
            <a:ext cx="1910971" cy="464995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1200" b="1">
                <a:latin typeface="Avenir LT Std 65 Medium"/>
              </a:defRPr>
            </a:lvl1pPr>
          </a:lstStyle>
          <a:p>
            <a:pPr lvl="0"/>
            <a:r>
              <a:rPr lang="fr-FR"/>
              <a:t>Modifiez les styles du titre</a:t>
            </a:r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9"/>
          </p:nvPr>
        </p:nvSpPr>
        <p:spPr>
          <a:xfrm>
            <a:off x="4110736" y="2124877"/>
            <a:ext cx="1911692" cy="722921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900">
                <a:latin typeface="Avenir Light"/>
              </a:defRPr>
            </a:lvl1pPr>
          </a:lstStyle>
          <a:p>
            <a:pPr lvl="0"/>
            <a:r>
              <a:rPr lang="fr-FR"/>
              <a:t>Modifiez les styles du texte</a:t>
            </a:r>
          </a:p>
        </p:txBody>
      </p:sp>
      <p:sp>
        <p:nvSpPr>
          <p:cNvPr id="28" name="Espace réservé du texte 14"/>
          <p:cNvSpPr>
            <a:spLocks noGrp="1"/>
          </p:cNvSpPr>
          <p:nvPr>
            <p:ph type="body" sz="quarter" idx="20" hasCustomPrompt="1"/>
          </p:nvPr>
        </p:nvSpPr>
        <p:spPr>
          <a:xfrm>
            <a:off x="4111463" y="3129035"/>
            <a:ext cx="1910971" cy="464995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1200" b="1">
                <a:latin typeface="Avenir LT Std 65 Medium"/>
              </a:defRPr>
            </a:lvl1pPr>
          </a:lstStyle>
          <a:p>
            <a:pPr lvl="0"/>
            <a:r>
              <a:rPr lang="fr-FR"/>
              <a:t>Modifiez les styles du titre</a:t>
            </a:r>
          </a:p>
        </p:txBody>
      </p:sp>
      <p:sp>
        <p:nvSpPr>
          <p:cNvPr id="29" name="Espace réservé du texte 22"/>
          <p:cNvSpPr>
            <a:spLocks noGrp="1"/>
          </p:cNvSpPr>
          <p:nvPr>
            <p:ph type="body" sz="quarter" idx="21"/>
          </p:nvPr>
        </p:nvSpPr>
        <p:spPr>
          <a:xfrm>
            <a:off x="4110736" y="3639426"/>
            <a:ext cx="1911692" cy="722921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900">
                <a:latin typeface="Avenir Light"/>
              </a:defRPr>
            </a:lvl1pPr>
          </a:lstStyle>
          <a:p>
            <a:pPr lvl="0"/>
            <a:r>
              <a:rPr lang="fr-FR"/>
              <a:t>Modifiez les styles du texte</a:t>
            </a:r>
          </a:p>
        </p:txBody>
      </p:sp>
      <p:sp>
        <p:nvSpPr>
          <p:cNvPr id="30" name="Espace réservé du texte 14"/>
          <p:cNvSpPr>
            <a:spLocks noGrp="1"/>
          </p:cNvSpPr>
          <p:nvPr>
            <p:ph type="body" sz="quarter" idx="22" hasCustomPrompt="1"/>
          </p:nvPr>
        </p:nvSpPr>
        <p:spPr>
          <a:xfrm>
            <a:off x="6565333" y="1614487"/>
            <a:ext cx="1910971" cy="464995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1200" b="1">
                <a:latin typeface="Avenir LT Std 65 Medium"/>
              </a:defRPr>
            </a:lvl1pPr>
          </a:lstStyle>
          <a:p>
            <a:pPr lvl="0"/>
            <a:r>
              <a:rPr lang="fr-FR"/>
              <a:t>Modifiez les styles du titre</a:t>
            </a:r>
          </a:p>
        </p:txBody>
      </p:sp>
      <p:sp>
        <p:nvSpPr>
          <p:cNvPr id="31" name="Espace réservé du texte 22"/>
          <p:cNvSpPr>
            <a:spLocks noGrp="1"/>
          </p:cNvSpPr>
          <p:nvPr>
            <p:ph type="body" sz="quarter" idx="23"/>
          </p:nvPr>
        </p:nvSpPr>
        <p:spPr>
          <a:xfrm>
            <a:off x="6564598" y="2124877"/>
            <a:ext cx="1911692" cy="722921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900">
                <a:latin typeface="Avenir Light"/>
              </a:defRPr>
            </a:lvl1pPr>
          </a:lstStyle>
          <a:p>
            <a:pPr lvl="0"/>
            <a:r>
              <a:rPr lang="fr-FR"/>
              <a:t>Modifiez les styles du texte</a:t>
            </a:r>
          </a:p>
        </p:txBody>
      </p:sp>
      <p:sp>
        <p:nvSpPr>
          <p:cNvPr id="32" name="Espace réservé du texte 14"/>
          <p:cNvSpPr>
            <a:spLocks noGrp="1"/>
          </p:cNvSpPr>
          <p:nvPr>
            <p:ph type="body" sz="quarter" idx="24" hasCustomPrompt="1"/>
          </p:nvPr>
        </p:nvSpPr>
        <p:spPr>
          <a:xfrm>
            <a:off x="6564618" y="3125731"/>
            <a:ext cx="1910971" cy="464995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1200" b="1">
                <a:latin typeface="Avenir LT Std 65 Medium"/>
              </a:defRPr>
            </a:lvl1pPr>
          </a:lstStyle>
          <a:p>
            <a:pPr lvl="0"/>
            <a:r>
              <a:rPr lang="fr-FR"/>
              <a:t>Modifiez les styles du titre</a:t>
            </a:r>
          </a:p>
        </p:txBody>
      </p:sp>
      <p:sp>
        <p:nvSpPr>
          <p:cNvPr id="33" name="Espace réservé du texte 22"/>
          <p:cNvSpPr>
            <a:spLocks noGrp="1"/>
          </p:cNvSpPr>
          <p:nvPr>
            <p:ph type="body" sz="quarter" idx="25"/>
          </p:nvPr>
        </p:nvSpPr>
        <p:spPr>
          <a:xfrm>
            <a:off x="6563875" y="3636121"/>
            <a:ext cx="1911692" cy="722921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900">
                <a:latin typeface="Avenir Light"/>
              </a:defRPr>
            </a:lvl1pPr>
          </a:lstStyle>
          <a:p>
            <a:pPr lvl="0"/>
            <a:r>
              <a:rPr lang="fr-FR"/>
              <a:t>Modifiez les styles du texte</a:t>
            </a:r>
          </a:p>
        </p:txBody>
      </p:sp>
      <p:sp>
        <p:nvSpPr>
          <p:cNvPr id="6" name="Espace réservé pour une image  5"/>
          <p:cNvSpPr>
            <a:spLocks noGrp="1"/>
          </p:cNvSpPr>
          <p:nvPr>
            <p:ph type="pic" sz="quarter" idx="26"/>
          </p:nvPr>
        </p:nvSpPr>
        <p:spPr>
          <a:xfrm>
            <a:off x="699861" y="1260294"/>
            <a:ext cx="2610898" cy="2263300"/>
          </a:xfrm>
          <a:prstGeom prst="rect">
            <a:avLst/>
          </a:prstGeom>
        </p:spPr>
        <p:txBody>
          <a:bodyPr lIns="68562" tIns="34289" rIns="68562" bIns="34289"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9704929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4456999" y="0"/>
            <a:ext cx="4714265" cy="51435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2" tIns="34289" rIns="68562" bIns="34289" rtlCol="0" anchor="ctr"/>
          <a:lstStyle/>
          <a:p>
            <a:pPr algn="ctr" defTabSz="685596"/>
            <a:endParaRPr lang="fr-FR" sz="1400">
              <a:solidFill>
                <a:prstClr val="white"/>
              </a:solidFill>
            </a:endParaRPr>
          </a:p>
        </p:txBody>
      </p:sp>
      <p:pic>
        <p:nvPicPr>
          <p:cNvPr id="2" name="Imag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78521" y="3221633"/>
            <a:ext cx="4904532" cy="5143500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4516093" cy="5143500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5414" y="4540931"/>
            <a:ext cx="457240" cy="452667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3716" y="3068283"/>
            <a:ext cx="3951766" cy="4150434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23528" y="4636975"/>
            <a:ext cx="502964" cy="260627"/>
          </a:xfrm>
          <a:prstGeom prst="rect">
            <a:avLst/>
          </a:prstGeom>
        </p:spPr>
      </p:pic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>
          <a:xfrm>
            <a:off x="472120" y="383215"/>
            <a:ext cx="3984854" cy="805322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2100" b="1">
                <a:latin typeface="Avenir LT Std 65 Medium"/>
              </a:defRPr>
            </a:lvl1pPr>
          </a:lstStyle>
          <a:p>
            <a:pPr lvl="0"/>
            <a:r>
              <a:rPr lang="fr-FR"/>
              <a:t>Modifiez les styles du text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/>
          </p:nvPr>
        </p:nvSpPr>
        <p:spPr>
          <a:xfrm>
            <a:off x="472020" y="1261214"/>
            <a:ext cx="3984952" cy="842421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900">
                <a:latin typeface="Avenir LT Std 65 Medium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pour une image  14"/>
          <p:cNvSpPr>
            <a:spLocks noGrp="1"/>
          </p:cNvSpPr>
          <p:nvPr>
            <p:ph type="pic" sz="quarter" idx="15"/>
          </p:nvPr>
        </p:nvSpPr>
        <p:spPr>
          <a:xfrm>
            <a:off x="622654" y="2334828"/>
            <a:ext cx="3328424" cy="2056223"/>
          </a:xfrm>
          <a:prstGeom prst="rect">
            <a:avLst/>
          </a:prstGeom>
        </p:spPr>
        <p:txBody>
          <a:bodyPr lIns="68562" tIns="34289" rIns="68562" bIns="34289"/>
          <a:lstStyle/>
          <a:p>
            <a:endParaRPr lang="fr-FR"/>
          </a:p>
        </p:txBody>
      </p:sp>
      <p:sp>
        <p:nvSpPr>
          <p:cNvPr id="22" name="Espace réservé du texte 21"/>
          <p:cNvSpPr>
            <a:spLocks noGrp="1"/>
          </p:cNvSpPr>
          <p:nvPr>
            <p:ph type="body" sz="quarter" idx="18"/>
          </p:nvPr>
        </p:nvSpPr>
        <p:spPr>
          <a:xfrm>
            <a:off x="5925751" y="3806455"/>
            <a:ext cx="2588967" cy="734615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900">
                <a:solidFill>
                  <a:schemeClr val="bg1"/>
                </a:solidFill>
                <a:latin typeface="Avenir LT Std 65 Medium"/>
              </a:defRPr>
            </a:lvl1pPr>
          </a:lstStyle>
          <a:p>
            <a:pPr lvl="0"/>
            <a:r>
              <a:rPr lang="fr-FR"/>
              <a:t>Modifiez les styles du texte </a:t>
            </a:r>
          </a:p>
        </p:txBody>
      </p:sp>
      <p:sp>
        <p:nvSpPr>
          <p:cNvPr id="25" name="Espace réservé du texte 4"/>
          <p:cNvSpPr>
            <a:spLocks noGrp="1"/>
          </p:cNvSpPr>
          <p:nvPr>
            <p:ph type="body" sz="quarter" idx="19"/>
          </p:nvPr>
        </p:nvSpPr>
        <p:spPr>
          <a:xfrm>
            <a:off x="5021987" y="383215"/>
            <a:ext cx="3750126" cy="805322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2100" b="1">
                <a:latin typeface="Avenir LT Std 65 Medium"/>
              </a:defRPr>
            </a:lvl1pPr>
          </a:lstStyle>
          <a:p>
            <a:pPr lvl="0"/>
            <a:r>
              <a:rPr lang="fr-FR"/>
              <a:t>Modifiez les styles du texte</a:t>
            </a:r>
          </a:p>
        </p:txBody>
      </p:sp>
      <p:sp>
        <p:nvSpPr>
          <p:cNvPr id="26" name="Espace réservé du texte 7"/>
          <p:cNvSpPr>
            <a:spLocks noGrp="1"/>
          </p:cNvSpPr>
          <p:nvPr>
            <p:ph type="body" sz="quarter" idx="20"/>
          </p:nvPr>
        </p:nvSpPr>
        <p:spPr>
          <a:xfrm>
            <a:off x="5021890" y="1261238"/>
            <a:ext cx="3750224" cy="1563847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900">
                <a:latin typeface="Avenir LT Std 65 Medium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79760800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8"/>
            <a:ext cx="9144000" cy="5143499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5414" y="4540931"/>
            <a:ext cx="457240" cy="452667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23528" y="4636975"/>
            <a:ext cx="502964" cy="260627"/>
          </a:xfrm>
          <a:prstGeom prst="rect">
            <a:avLst/>
          </a:prstGeom>
        </p:spPr>
      </p:pic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>
          <a:xfrm>
            <a:off x="472124" y="383216"/>
            <a:ext cx="3912379" cy="972975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3600" b="0">
                <a:solidFill>
                  <a:schemeClr val="bg1"/>
                </a:solidFill>
                <a:latin typeface="Avenir LT Std 65 Medium"/>
              </a:defRPr>
            </a:lvl1pPr>
          </a:lstStyle>
          <a:p>
            <a:pPr lvl="0"/>
            <a:r>
              <a:rPr lang="fr-FR"/>
              <a:t>Modifiez les styles du texte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4"/>
          </p:nvPr>
        </p:nvSpPr>
        <p:spPr>
          <a:xfrm>
            <a:off x="4960348" y="365737"/>
            <a:ext cx="3866144" cy="990453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3600" b="0">
                <a:solidFill>
                  <a:srgbClr val="76B900"/>
                </a:solidFill>
                <a:latin typeface="Avenir LT Std 65 Medium"/>
              </a:defRPr>
            </a:lvl1pPr>
          </a:lstStyle>
          <a:p>
            <a:pPr lvl="0"/>
            <a:r>
              <a:rPr lang="fr-FR"/>
              <a:t>Modifiez les styles du texte</a:t>
            </a:r>
          </a:p>
        </p:txBody>
      </p:sp>
      <p:sp>
        <p:nvSpPr>
          <p:cNvPr id="7" name="Espace réservé du texte 7"/>
          <p:cNvSpPr>
            <a:spLocks noGrp="1"/>
          </p:cNvSpPr>
          <p:nvPr>
            <p:ph type="body" sz="quarter" idx="20"/>
          </p:nvPr>
        </p:nvSpPr>
        <p:spPr>
          <a:xfrm>
            <a:off x="4960348" y="1615671"/>
            <a:ext cx="3750224" cy="2925258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1100">
                <a:solidFill>
                  <a:schemeClr val="bg1"/>
                </a:solidFill>
                <a:latin typeface="Avenir LT Std 65 Medium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21"/>
          </p:nvPr>
        </p:nvSpPr>
        <p:spPr>
          <a:xfrm>
            <a:off x="472120" y="1611564"/>
            <a:ext cx="3750224" cy="2929391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1100">
                <a:solidFill>
                  <a:schemeClr val="bg1"/>
                </a:solidFill>
                <a:latin typeface="Avenir LT Std 65 Medium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56967212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uverture_sans_visu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39750" y="540000"/>
            <a:ext cx="8064500" cy="2160000"/>
          </a:xfrm>
        </p:spPr>
        <p:txBody>
          <a:bodyPr/>
          <a:lstStyle>
            <a:lvl1pPr>
              <a:defRPr b="0" i="0" cap="none">
                <a:solidFill>
                  <a:schemeClr val="bg1"/>
                </a:solidFill>
                <a:latin typeface="Avenir LT Std 65 Medium" panose="020B0603020203020204" pitchFamily="34" charset="0"/>
                <a:cs typeface="Avenir LT Std 65 Medium" panose="020B0603020203020204" pitchFamily="34" charset="0"/>
              </a:defRPr>
            </a:lvl1pPr>
            <a:lvl2pPr>
              <a:defRPr b="0" i="0" cap="none">
                <a:solidFill>
                  <a:schemeClr val="bg1"/>
                </a:solidFill>
                <a:latin typeface="Avenir LT Std 65 Medium" panose="020B0603020203020204" pitchFamily="34" charset="0"/>
                <a:cs typeface="Avenir LT Std 65 Medium" panose="020B0603020203020204" pitchFamily="34" charset="0"/>
              </a:defRPr>
            </a:lvl2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prstClr val="white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7" name="Espace réservé de la date 11">
            <a:extLst>
              <a:ext uri="{FF2B5EF4-FFF2-40B4-BE49-F238E27FC236}">
                <a16:creationId xmlns:a16="http://schemas.microsoft.com/office/drawing/2014/main" id="{295F553D-79DC-4492-8AC7-EB7D29AE3C52}"/>
              </a:ext>
            </a:extLst>
          </p:cNvPr>
          <p:cNvSpPr>
            <a:spLocks noGrp="1"/>
          </p:cNvSpPr>
          <p:nvPr>
            <p:ph type="dt" sz="half" idx="19"/>
          </p:nvPr>
        </p:nvSpPr>
        <p:spPr bwMode="gray">
          <a:xfrm>
            <a:off x="1361440" y="4813200"/>
            <a:ext cx="6847522" cy="195680"/>
          </a:xfrm>
          <a:prstGeom prst="rect">
            <a:avLst/>
          </a:prstGeom>
        </p:spPr>
        <p:txBody>
          <a:bodyPr/>
          <a:lstStyle/>
          <a:p>
            <a:fld id="{16F24D38-47AA-4D10-A3F9-B7DF2AB6835D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554768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e_1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1" y="1743074"/>
            <a:ext cx="3960000" cy="2736851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955460D-B37F-4FAB-898F-18F2D5FA56D6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prstClr val="white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defTabSz="914130"/>
            <a:endParaRPr lang="fr-FR" sz="1800">
              <a:solidFill>
                <a:srgbClr val="3C3732"/>
              </a:solidFill>
            </a:endParaRP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950913"/>
            <a:ext cx="80645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1" name="Espace réservé pour une image  10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644250" y="1779588"/>
            <a:ext cx="3960000" cy="2520950"/>
          </a:xfrm>
          <a:prstGeom prst="rect">
            <a:avLst/>
          </a:prstGeom>
          <a:solidFill>
            <a:srgbClr val="D7D7D7"/>
          </a:solidFill>
        </p:spPr>
        <p:txBody>
          <a:bodyPr lIns="360000" tIns="1728000" rIns="360000" anchor="ctr" anchorCtr="0"/>
          <a:lstStyle>
            <a:lvl1pPr algn="ctr">
              <a:defRPr sz="1300" b="0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fr-FR"/>
              <a:t>Sélectionner l’icône pour insérer une image (format 110 x 70 mm)</a:t>
            </a:r>
          </a:p>
        </p:txBody>
      </p:sp>
    </p:spTree>
    <p:extLst>
      <p:ext uri="{BB962C8B-B14F-4D97-AF65-F5344CB8AC3E}">
        <p14:creationId xmlns:p14="http://schemas.microsoft.com/office/powerpoint/2010/main" val="47038471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re_2_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1" y="1743074"/>
            <a:ext cx="3960000" cy="2736851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27A1721-79E2-4732-85AD-5E2DB701A38A}" type="datetime1">
              <a:rPr lang="fr-FR" smtClean="0">
                <a:solidFill>
                  <a:srgbClr val="3C3732"/>
                </a:solidFill>
              </a:rPr>
              <a:pPr/>
              <a:t>17/01/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prstClr val="white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179388" y="4659313"/>
            <a:ext cx="8029575" cy="162018"/>
          </a:xfrm>
          <a:prstGeom prst="rect">
            <a:avLst/>
          </a:prstGeom>
        </p:spPr>
        <p:txBody>
          <a:bodyPr/>
          <a:lstStyle/>
          <a:p>
            <a:pPr defTabSz="914130"/>
            <a:r>
              <a:rPr lang="fr-FR" sz="1800">
                <a:solidFill>
                  <a:srgbClr val="3C3732"/>
                </a:solidFill>
              </a:rPr>
              <a:t>Fab Big Data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950913"/>
            <a:ext cx="80645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2" name="Espace réservé du contenu 2"/>
          <p:cNvSpPr>
            <a:spLocks noGrp="1"/>
          </p:cNvSpPr>
          <p:nvPr>
            <p:ph idx="19" hasCustomPrompt="1"/>
          </p:nvPr>
        </p:nvSpPr>
        <p:spPr bwMode="gray">
          <a:xfrm>
            <a:off x="5718139" y="1753706"/>
            <a:ext cx="3960000" cy="1276573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</p:spTree>
    <p:extLst>
      <p:ext uri="{BB962C8B-B14F-4D97-AF65-F5344CB8AC3E}">
        <p14:creationId xmlns:p14="http://schemas.microsoft.com/office/powerpoint/2010/main" val="10091258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273844"/>
            <a:ext cx="1971675" cy="4358878"/>
          </a:xfrm>
        </p:spPr>
        <p:txBody>
          <a:bodyPr vert="eaVert"/>
          <a:lstStyle/>
          <a:p>
            <a:r>
              <a:rPr lang="fr-FR"/>
              <a:t>Cliquez et modifiez le titr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273844"/>
            <a:ext cx="5800725" cy="435887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3"/>
          </a:xfrm>
          <a:prstGeom prst="rect">
            <a:avLst/>
          </a:prstGeom>
        </p:spPr>
        <p:txBody>
          <a:bodyPr/>
          <a:lstStyle/>
          <a:p>
            <a:fld id="{D91DC166-3F88-4849-A61A-AD75C82AAE0A}" type="datetimeFigureOut">
              <a:rPr lang="fr-FR" smtClean="0"/>
              <a:t>17/01/202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3"/>
          </a:xfrm>
          <a:prstGeom prst="rect">
            <a:avLst/>
          </a:prstGeom>
        </p:spPr>
        <p:txBody>
          <a:bodyPr/>
          <a:lstStyle/>
          <a:p>
            <a:fld id="{44AC34E9-4D80-9947-9379-C8B62DEAC814}" type="slidenum">
              <a:rPr lang="fr-FR" smtClean="0"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ommaire_typ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539751" y="486000"/>
            <a:ext cx="8064499" cy="464913"/>
          </a:xfrm>
        </p:spPr>
        <p:txBody>
          <a:bodyPr/>
          <a:lstStyle>
            <a:lvl1pPr>
              <a:defRPr b="0"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C3533BB-873D-41B8-8FB5-01D55DF5139C}" type="datetime1">
              <a:rPr lang="fr-FR" smtClean="0">
                <a:solidFill>
                  <a:srgbClr val="3C3732"/>
                </a:solidFill>
              </a:rPr>
              <a:pPr/>
              <a:t>17/01/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prstClr val="white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179388" y="4659313"/>
            <a:ext cx="8029575" cy="162018"/>
          </a:xfrm>
          <a:prstGeom prst="rect">
            <a:avLst/>
          </a:prstGeom>
        </p:spPr>
        <p:txBody>
          <a:bodyPr/>
          <a:lstStyle/>
          <a:p>
            <a:pPr defTabSz="914130"/>
            <a:r>
              <a:rPr lang="fr-FR" sz="1800">
                <a:solidFill>
                  <a:srgbClr val="3C3732"/>
                </a:solidFill>
              </a:rPr>
              <a:t>Fab Big Data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3"/>
          </p:nvPr>
        </p:nvSpPr>
        <p:spPr bwMode="gray">
          <a:xfrm>
            <a:off x="539751" y="1276350"/>
            <a:ext cx="8064499" cy="3203575"/>
          </a:xfrm>
        </p:spPr>
        <p:txBody>
          <a:bodyPr/>
          <a:lstStyle>
            <a:lvl1pPr>
              <a:spcBef>
                <a:spcPts val="1400"/>
              </a:spcBef>
              <a:spcAft>
                <a:spcPts val="500"/>
              </a:spcAft>
              <a:defRPr sz="1500" b="0" cap="all" baseline="0">
                <a:latin typeface="Avenir LT Std 65 Medium" pitchFamily="34" charset="0"/>
              </a:defRPr>
            </a:lvl1pPr>
            <a:lvl2pPr>
              <a:lnSpc>
                <a:spcPct val="90000"/>
              </a:lnSpc>
              <a:spcAft>
                <a:spcPts val="0"/>
              </a:spcAft>
              <a:defRPr sz="1500" cap="all" baseline="0">
                <a:latin typeface="Avenir LT Std 55 Roman" pitchFamily="34" charset="0"/>
              </a:defRPr>
            </a:lvl2pPr>
            <a:lvl3pPr marL="0" indent="0">
              <a:lnSpc>
                <a:spcPct val="90000"/>
              </a:lnSpc>
              <a:spcAft>
                <a:spcPts val="0"/>
              </a:spcAft>
              <a:buNone/>
              <a:defRPr sz="1500" cap="all" baseline="0"/>
            </a:lvl3pPr>
            <a:lvl4pPr marL="0" indent="0">
              <a:lnSpc>
                <a:spcPct val="90000"/>
              </a:lnSpc>
              <a:spcAft>
                <a:spcPts val="0"/>
              </a:spcAft>
              <a:buNone/>
              <a:defRPr sz="1500" cap="all" baseline="0"/>
            </a:lvl4pPr>
            <a:lvl5pPr marL="0" indent="0">
              <a:lnSpc>
                <a:spcPct val="90000"/>
              </a:lnSpc>
              <a:spcAft>
                <a:spcPts val="0"/>
              </a:spcAft>
              <a:defRPr sz="1500" cap="all" baseline="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4" name="Espace réservé du contenu 2"/>
          <p:cNvSpPr>
            <a:spLocks noGrp="1"/>
          </p:cNvSpPr>
          <p:nvPr>
            <p:ph idx="19" hasCustomPrompt="1"/>
          </p:nvPr>
        </p:nvSpPr>
        <p:spPr bwMode="gray">
          <a:xfrm>
            <a:off x="4708046" y="1626115"/>
            <a:ext cx="3936224" cy="1276573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</p:spTree>
    <p:extLst>
      <p:ext uri="{BB962C8B-B14F-4D97-AF65-F5344CB8AC3E}">
        <p14:creationId xmlns:p14="http://schemas.microsoft.com/office/powerpoint/2010/main" val="423439399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_typ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539750" y="486000"/>
            <a:ext cx="8064499" cy="464913"/>
          </a:xfrm>
        </p:spPr>
        <p:txBody>
          <a:bodyPr/>
          <a:lstStyle>
            <a:lvl1pPr>
              <a:defRPr b="0"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620DFBC-68DC-4591-ABC4-6DAEDDFB4385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rection Data &amp; IoT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39750" y="1267898"/>
            <a:ext cx="4722255" cy="230832"/>
          </a:xfrm>
          <a:solidFill>
            <a:schemeClr val="accent1"/>
          </a:solidFill>
        </p:spPr>
        <p:txBody>
          <a:bodyPr wrap="none" anchor="t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tabLst>
                <a:tab pos="355600" algn="l"/>
              </a:tabLst>
              <a:defRPr sz="1500" b="0" cap="all" baseline="0">
                <a:solidFill>
                  <a:schemeClr val="bg1"/>
                </a:solidFill>
                <a:latin typeface="Avenir LT Std 65 Medium" pitchFamily="34" charset="0"/>
              </a:defRPr>
            </a:lvl1pPr>
          </a:lstStyle>
          <a:p>
            <a:pPr lvl="0"/>
            <a:r>
              <a:rPr lang="fr-FR"/>
              <a:t>01.	Titre partie (tabulation après le chiffre)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/>
          </p:nvPr>
        </p:nvSpPr>
        <p:spPr bwMode="gray">
          <a:xfrm>
            <a:off x="900113" y="1540350"/>
            <a:ext cx="7704137" cy="468000"/>
          </a:xfrm>
        </p:spPr>
        <p:txBody>
          <a:bodyPr/>
          <a:lstStyle>
            <a:lvl1pPr marL="144000" indent="-144000">
              <a:lnSpc>
                <a:spcPct val="90000"/>
              </a:lnSpc>
              <a:spcAft>
                <a:spcPts val="0"/>
              </a:spcAft>
              <a:buFont typeface="Avenir LT Std 45 Book" pitchFamily="34" charset="0"/>
              <a:buChar char="+"/>
              <a:defRPr sz="1500" b="0" cap="all" baseline="0">
                <a:solidFill>
                  <a:schemeClr val="tx1"/>
                </a:solidFill>
                <a:latin typeface="+mn-lt"/>
              </a:defRPr>
            </a:lvl1pPr>
            <a:lvl2pPr marL="144000">
              <a:lnSpc>
                <a:spcPct val="90000"/>
              </a:lnSpc>
              <a:spcAft>
                <a:spcPts val="0"/>
              </a:spcAft>
              <a:defRPr b="0">
                <a:latin typeface="Avenir LT Std 65 Medium" pitchFamily="34" charset="0"/>
              </a:defRPr>
            </a:lvl2pPr>
            <a:lvl3pPr indent="0">
              <a:spcAft>
                <a:spcPts val="0"/>
              </a:spcAft>
              <a:buNone/>
              <a:defRPr b="1"/>
            </a:lvl3pPr>
            <a:lvl4pPr marL="144000" indent="0">
              <a:buNone/>
              <a:defRPr sz="1300" b="1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Espace réservé du texte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9750" y="2057556"/>
            <a:ext cx="4722255" cy="230832"/>
          </a:xfrm>
          <a:solidFill>
            <a:schemeClr val="accent1"/>
          </a:solidFill>
        </p:spPr>
        <p:txBody>
          <a:bodyPr wrap="none" anchor="t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tabLst>
                <a:tab pos="355600" algn="l"/>
              </a:tabLst>
              <a:defRPr sz="1500" b="0" cap="all" baseline="0">
                <a:solidFill>
                  <a:schemeClr val="bg1"/>
                </a:solidFill>
                <a:latin typeface="Avenir LT Std 65 Medium" pitchFamily="34" charset="0"/>
              </a:defRPr>
            </a:lvl1pPr>
          </a:lstStyle>
          <a:p>
            <a:pPr lvl="0"/>
            <a:r>
              <a:rPr lang="fr-FR"/>
              <a:t>01.	Titre partie (tabulation après le chiffre)</a:t>
            </a:r>
          </a:p>
        </p:txBody>
      </p:sp>
      <p:sp>
        <p:nvSpPr>
          <p:cNvPr id="19" name="Espace réservé du texte 11"/>
          <p:cNvSpPr>
            <a:spLocks noGrp="1"/>
          </p:cNvSpPr>
          <p:nvPr>
            <p:ph type="body" sz="quarter" idx="16"/>
          </p:nvPr>
        </p:nvSpPr>
        <p:spPr bwMode="gray">
          <a:xfrm>
            <a:off x="900113" y="2330008"/>
            <a:ext cx="7704137" cy="468000"/>
          </a:xfrm>
        </p:spPr>
        <p:txBody>
          <a:bodyPr/>
          <a:lstStyle>
            <a:lvl1pPr marL="144000" indent="-144000">
              <a:lnSpc>
                <a:spcPct val="90000"/>
              </a:lnSpc>
              <a:spcAft>
                <a:spcPts val="0"/>
              </a:spcAft>
              <a:buFont typeface="Avenir LT Std 45 Book" pitchFamily="34" charset="0"/>
              <a:buChar char="+"/>
              <a:defRPr sz="1500" b="0" cap="all" baseline="0">
                <a:solidFill>
                  <a:schemeClr val="tx1"/>
                </a:solidFill>
                <a:latin typeface="+mn-lt"/>
              </a:defRPr>
            </a:lvl1pPr>
            <a:lvl2pPr marL="144000">
              <a:lnSpc>
                <a:spcPct val="90000"/>
              </a:lnSpc>
              <a:spcAft>
                <a:spcPts val="0"/>
              </a:spcAft>
              <a:defRPr b="0">
                <a:latin typeface="Avenir LT Std 65 Medium" pitchFamily="34" charset="0"/>
              </a:defRPr>
            </a:lvl2pPr>
            <a:lvl3pPr indent="0">
              <a:spcAft>
                <a:spcPts val="0"/>
              </a:spcAft>
              <a:buNone/>
              <a:defRPr/>
            </a:lvl3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0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39750" y="2851749"/>
            <a:ext cx="4722255" cy="230832"/>
          </a:xfrm>
          <a:solidFill>
            <a:schemeClr val="accent1"/>
          </a:solidFill>
        </p:spPr>
        <p:txBody>
          <a:bodyPr wrap="none" anchor="t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tabLst>
                <a:tab pos="355600" algn="l"/>
              </a:tabLst>
              <a:defRPr sz="1500" b="0" cap="all" baseline="0">
                <a:solidFill>
                  <a:schemeClr val="bg1"/>
                </a:solidFill>
                <a:latin typeface="Avenir LT Std 65 Medium" pitchFamily="34" charset="0"/>
              </a:defRPr>
            </a:lvl1pPr>
          </a:lstStyle>
          <a:p>
            <a:pPr lvl="0"/>
            <a:r>
              <a:rPr lang="fr-FR"/>
              <a:t>01.	Titre partie (tabulation après le chiffre)</a:t>
            </a:r>
          </a:p>
        </p:txBody>
      </p:sp>
      <p:sp>
        <p:nvSpPr>
          <p:cNvPr id="21" name="Espace réservé du texte 11"/>
          <p:cNvSpPr>
            <a:spLocks noGrp="1"/>
          </p:cNvSpPr>
          <p:nvPr>
            <p:ph type="body" sz="quarter" idx="18"/>
          </p:nvPr>
        </p:nvSpPr>
        <p:spPr bwMode="gray">
          <a:xfrm>
            <a:off x="900113" y="3124201"/>
            <a:ext cx="7704137" cy="468000"/>
          </a:xfrm>
        </p:spPr>
        <p:txBody>
          <a:bodyPr/>
          <a:lstStyle>
            <a:lvl1pPr marL="144000" indent="-144000">
              <a:lnSpc>
                <a:spcPct val="90000"/>
              </a:lnSpc>
              <a:spcAft>
                <a:spcPts val="0"/>
              </a:spcAft>
              <a:buFont typeface="Avenir LT Std 45 Book" pitchFamily="34" charset="0"/>
              <a:buChar char="+"/>
              <a:defRPr sz="1500" b="0" cap="all" baseline="0">
                <a:solidFill>
                  <a:schemeClr val="tx1"/>
                </a:solidFill>
                <a:latin typeface="+mn-lt"/>
              </a:defRPr>
            </a:lvl1pPr>
            <a:lvl2pPr marL="144000">
              <a:lnSpc>
                <a:spcPct val="90000"/>
              </a:lnSpc>
              <a:spcAft>
                <a:spcPts val="0"/>
              </a:spcAft>
              <a:defRPr b="0">
                <a:latin typeface="Avenir LT Std 65 Medium" pitchFamily="34" charset="0"/>
              </a:defRPr>
            </a:lvl2pPr>
            <a:lvl3pPr indent="0">
              <a:spcAft>
                <a:spcPts val="0"/>
              </a:spcAft>
              <a:buNone/>
              <a:defRPr/>
            </a:lvl3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2" name="Espace réservé du texte 1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39750" y="3652188"/>
            <a:ext cx="4722255" cy="230832"/>
          </a:xfrm>
          <a:solidFill>
            <a:schemeClr val="accent1"/>
          </a:solidFill>
        </p:spPr>
        <p:txBody>
          <a:bodyPr wrap="none" anchor="t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tabLst>
                <a:tab pos="355600" algn="l"/>
              </a:tabLst>
              <a:defRPr sz="1500" b="0" cap="all" baseline="0">
                <a:solidFill>
                  <a:schemeClr val="bg1"/>
                </a:solidFill>
                <a:latin typeface="Avenir LT Std 65 Medium" pitchFamily="34" charset="0"/>
              </a:defRPr>
            </a:lvl1pPr>
          </a:lstStyle>
          <a:p>
            <a:pPr lvl="0"/>
            <a:r>
              <a:rPr lang="fr-FR"/>
              <a:t>01.	Titre partie (tabulation après le chiffre)</a:t>
            </a:r>
          </a:p>
        </p:txBody>
      </p:sp>
      <p:sp>
        <p:nvSpPr>
          <p:cNvPr id="23" name="Espace réservé du texte 11"/>
          <p:cNvSpPr>
            <a:spLocks noGrp="1"/>
          </p:cNvSpPr>
          <p:nvPr>
            <p:ph type="body" sz="quarter" idx="20"/>
          </p:nvPr>
        </p:nvSpPr>
        <p:spPr bwMode="gray">
          <a:xfrm>
            <a:off x="900113" y="3924640"/>
            <a:ext cx="7704137" cy="468000"/>
          </a:xfrm>
        </p:spPr>
        <p:txBody>
          <a:bodyPr/>
          <a:lstStyle>
            <a:lvl1pPr marL="144000" indent="-144000">
              <a:lnSpc>
                <a:spcPct val="90000"/>
              </a:lnSpc>
              <a:spcAft>
                <a:spcPts val="0"/>
              </a:spcAft>
              <a:buFont typeface="Avenir LT Std 45 Book" pitchFamily="34" charset="0"/>
              <a:buChar char="+"/>
              <a:defRPr sz="1500" b="0" cap="all" baseline="0">
                <a:solidFill>
                  <a:schemeClr val="tx1"/>
                </a:solidFill>
                <a:latin typeface="+mn-lt"/>
              </a:defRPr>
            </a:lvl1pPr>
            <a:lvl2pPr marL="144000">
              <a:lnSpc>
                <a:spcPct val="90000"/>
              </a:lnSpc>
              <a:spcAft>
                <a:spcPts val="0"/>
              </a:spcAft>
              <a:defRPr b="0">
                <a:latin typeface="Avenir LT Std 65 Medium" pitchFamily="34" charset="0"/>
              </a:defRPr>
            </a:lvl2pPr>
            <a:lvl3pPr indent="0">
              <a:spcAft>
                <a:spcPts val="0"/>
              </a:spcAft>
              <a:buNone/>
              <a:defRPr/>
            </a:lvl3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278146602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_typ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539751" y="486000"/>
            <a:ext cx="8064499" cy="464913"/>
          </a:xfrm>
        </p:spPr>
        <p:txBody>
          <a:bodyPr/>
          <a:lstStyle>
            <a:lvl1pPr>
              <a:defRPr b="0"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EE03774-3939-491C-B1E7-9F5931411675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rection Data &amp; IoT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3"/>
          </p:nvPr>
        </p:nvSpPr>
        <p:spPr bwMode="gray">
          <a:xfrm>
            <a:off x="539751" y="1276350"/>
            <a:ext cx="8064499" cy="3203575"/>
          </a:xfrm>
        </p:spPr>
        <p:txBody>
          <a:bodyPr/>
          <a:lstStyle>
            <a:lvl1pPr>
              <a:spcBef>
                <a:spcPts val="1400"/>
              </a:spcBef>
              <a:spcAft>
                <a:spcPts val="500"/>
              </a:spcAft>
              <a:defRPr sz="1500" b="0" cap="all" baseline="0">
                <a:latin typeface="Avenir LT Std 65 Medium" pitchFamily="34" charset="0"/>
              </a:defRPr>
            </a:lvl1pPr>
            <a:lvl2pPr>
              <a:lnSpc>
                <a:spcPct val="90000"/>
              </a:lnSpc>
              <a:spcAft>
                <a:spcPts val="0"/>
              </a:spcAft>
              <a:defRPr sz="1500" cap="all" baseline="0">
                <a:latin typeface="Avenir LT Std 55 Roman" pitchFamily="34" charset="0"/>
              </a:defRPr>
            </a:lvl2pPr>
            <a:lvl3pPr marL="0" indent="0">
              <a:lnSpc>
                <a:spcPct val="90000"/>
              </a:lnSpc>
              <a:spcAft>
                <a:spcPts val="0"/>
              </a:spcAft>
              <a:buNone/>
              <a:defRPr sz="1500" cap="all" baseline="0"/>
            </a:lvl3pPr>
            <a:lvl4pPr marL="0" indent="0">
              <a:lnSpc>
                <a:spcPct val="90000"/>
              </a:lnSpc>
              <a:spcAft>
                <a:spcPts val="0"/>
              </a:spcAft>
              <a:buNone/>
              <a:defRPr sz="1500" cap="all" baseline="0"/>
            </a:lvl4pPr>
            <a:lvl5pPr marL="0" indent="0">
              <a:lnSpc>
                <a:spcPct val="90000"/>
              </a:lnSpc>
              <a:spcAft>
                <a:spcPts val="0"/>
              </a:spcAft>
              <a:defRPr sz="1500" cap="all" baseline="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455062101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 bwMode="gray">
          <a:xfrm>
            <a:off x="179387" y="179388"/>
            <a:ext cx="8785225" cy="352901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9EF1FDA-03EA-40EB-BC28-2CDA2E74497F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rection Data &amp; IoT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267495"/>
            <a:ext cx="8064500" cy="1931604"/>
          </a:xfrm>
        </p:spPr>
        <p:txBody>
          <a:bodyPr anchor="b" anchorCtr="0"/>
          <a:lstStyle>
            <a:lvl1pPr>
              <a:lnSpc>
                <a:spcPct val="90000"/>
              </a:lnSpc>
              <a:spcAft>
                <a:spcPts val="0"/>
              </a:spcAft>
              <a:defRPr sz="5000" b="0" kern="1200" cap="all" baseline="0">
                <a:solidFill>
                  <a:schemeClr val="bg1"/>
                </a:solidFill>
                <a:latin typeface="Avenir LT Std 65 Medium" pitchFamily="34" charset="0"/>
              </a:defRPr>
            </a:lvl1pPr>
            <a:lvl2pPr>
              <a:lnSpc>
                <a:spcPct val="90000"/>
              </a:lnSpc>
              <a:spcAft>
                <a:spcPts val="0"/>
              </a:spcAft>
              <a:defRPr sz="3500" cap="all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4"/>
          </p:nvPr>
        </p:nvSpPr>
        <p:spPr bwMode="gray">
          <a:xfrm>
            <a:off x="539750" y="2344180"/>
            <a:ext cx="8064500" cy="1350000"/>
          </a:xfrm>
        </p:spPr>
        <p:txBody>
          <a:bodyPr/>
          <a:lstStyle>
            <a:lvl1pPr marL="180000" indent="-180000">
              <a:lnSpc>
                <a:spcPct val="90000"/>
              </a:lnSpc>
              <a:spcAft>
                <a:spcPts val="0"/>
              </a:spcAft>
              <a:buFont typeface="Arial" pitchFamily="34" charset="0"/>
              <a:buChar char="+"/>
              <a:defRPr sz="1600" b="0" cap="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97887816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us_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gray">
          <a:xfrm>
            <a:off x="179388" y="179388"/>
            <a:ext cx="8785225" cy="3529012"/>
          </a:xfrm>
          <a:prstGeom prst="rect">
            <a:avLst/>
          </a:prstGeom>
          <a:solidFill>
            <a:srgbClr val="D7D7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5CE00AB-C493-4296-AB75-C836B50EED75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rection Data &amp; IoT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1669454"/>
            <a:ext cx="5762796" cy="230832"/>
          </a:xfrm>
          <a:solidFill>
            <a:schemeClr val="accent1"/>
          </a:solidFill>
        </p:spPr>
        <p:txBody>
          <a:bodyPr wrap="none" anchor="ctr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500" b="0" kern="1200" cap="all" baseline="0">
                <a:solidFill>
                  <a:schemeClr val="bg1"/>
                </a:solidFill>
                <a:latin typeface="Avenir LT Std 65 Medium" pitchFamily="34" charset="0"/>
              </a:defRPr>
            </a:lvl1pPr>
            <a:lvl2pPr>
              <a:lnSpc>
                <a:spcPct val="90000"/>
              </a:lnSpc>
              <a:defRPr sz="3500" cap="all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4"/>
          </p:nvPr>
        </p:nvSpPr>
        <p:spPr bwMode="gray">
          <a:xfrm>
            <a:off x="539750" y="1947070"/>
            <a:ext cx="8064500" cy="1350000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3500" b="0" cap="all" baseline="0">
                <a:solidFill>
                  <a:schemeClr val="accent1"/>
                </a:solidFill>
                <a:latin typeface="Avenir LT Std 65 Medium" pitchFamily="34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4" name="Espace réservé du texte 11"/>
          <p:cNvSpPr>
            <a:spLocks noGrp="1"/>
          </p:cNvSpPr>
          <p:nvPr>
            <p:ph type="body" sz="quarter" idx="15"/>
          </p:nvPr>
        </p:nvSpPr>
        <p:spPr bwMode="gray">
          <a:xfrm>
            <a:off x="539750" y="1438622"/>
            <a:ext cx="5762796" cy="230832"/>
          </a:xfrm>
          <a:solidFill>
            <a:schemeClr val="accent1"/>
          </a:solidFill>
        </p:spPr>
        <p:txBody>
          <a:bodyPr wrap="none" anchor="ctr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500" b="0" kern="1200" cap="all" baseline="0">
                <a:solidFill>
                  <a:schemeClr val="bg1"/>
                </a:solidFill>
                <a:latin typeface="Avenir LT Std 65 Medium" pitchFamily="34" charset="0"/>
              </a:defRPr>
            </a:lvl1pPr>
            <a:lvl2pPr>
              <a:lnSpc>
                <a:spcPct val="90000"/>
              </a:lnSpc>
              <a:defRPr sz="3500" cap="all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87039446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croche_visu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texte 14"/>
          <p:cNvSpPr>
            <a:spLocks noGrp="1"/>
          </p:cNvSpPr>
          <p:nvPr>
            <p:ph type="body" sz="quarter" idx="19"/>
          </p:nvPr>
        </p:nvSpPr>
        <p:spPr bwMode="gray">
          <a:xfrm>
            <a:off x="539750" y="633882"/>
            <a:ext cx="8064500" cy="3600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4500" b="0" cap="all" baseline="0">
                <a:latin typeface="+mj-lt"/>
              </a:defRPr>
            </a:lvl1pPr>
            <a:lvl2pPr>
              <a:lnSpc>
                <a:spcPct val="90000"/>
              </a:lnSpc>
              <a:spcBef>
                <a:spcPts val="1500"/>
              </a:spcBef>
              <a:spcAft>
                <a:spcPts val="0"/>
              </a:spcAft>
              <a:defRPr sz="1500" b="0" cap="all" baseline="0">
                <a:solidFill>
                  <a:srgbClr val="747678"/>
                </a:solidFill>
                <a:latin typeface="+mn-lt"/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2" name="Espace réservé pour une image  10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179388" y="179387"/>
            <a:ext cx="8785224" cy="4140000"/>
          </a:xfrm>
          <a:prstGeom prst="rect">
            <a:avLst/>
          </a:prstGeom>
          <a:solidFill>
            <a:srgbClr val="D7D7D7"/>
          </a:solidFill>
        </p:spPr>
        <p:txBody>
          <a:bodyPr lIns="720000" tIns="1260000" rIns="720000" anchor="ctr" anchorCtr="0"/>
          <a:lstStyle>
            <a:lvl1pPr algn="ctr">
              <a:defRPr sz="1300" b="0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fr-FR"/>
              <a:t>Sélectionner l’icône pour insérer une image (format 244 x 115 mm), puis disposer l’image en arrière plan (Sélectionner l’image avec le bouton droit de la souris / Mettre à l’arrière plan). Lorsque l’image est en arrière plan, le titre apparaît.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A085EBE-9D42-48DC-AFA8-743947FE5D3F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rection Data &amp; IoT</a:t>
            </a:r>
          </a:p>
        </p:txBody>
      </p:sp>
    </p:spTree>
    <p:extLst>
      <p:ext uri="{BB962C8B-B14F-4D97-AF65-F5344CB8AC3E}">
        <p14:creationId xmlns:p14="http://schemas.microsoft.com/office/powerpoint/2010/main" val="367595867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croche_visuel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PPT_Packshot_244x130,5_01.jpg"/>
          <p:cNvPicPr preferRelativeResize="0">
            <a:picLocks/>
          </p:cNvPicPr>
          <p:nvPr userDrawn="1"/>
        </p:nvPicPr>
        <p:blipFill>
          <a:blip r:embed="rId2" cstate="print"/>
          <a:stretch>
            <a:fillRect/>
          </a:stretch>
        </p:blipFill>
        <p:spPr bwMode="gray">
          <a:xfrm>
            <a:off x="179388" y="180308"/>
            <a:ext cx="8782157" cy="4138157"/>
          </a:xfrm>
          <a:prstGeom prst="rect">
            <a:avLst/>
          </a:prstGeom>
        </p:spPr>
      </p:pic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0755856-70D2-4BE4-97EA-9DCEE80EC0CD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rection Data &amp; IoT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9"/>
          </p:nvPr>
        </p:nvSpPr>
        <p:spPr bwMode="gray">
          <a:xfrm>
            <a:off x="539750" y="633883"/>
            <a:ext cx="8064500" cy="3600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4500" b="0" cap="all" baseline="0">
                <a:latin typeface="+mj-lt"/>
              </a:defRPr>
            </a:lvl1pPr>
            <a:lvl2pPr>
              <a:lnSpc>
                <a:spcPct val="90000"/>
              </a:lnSpc>
              <a:spcBef>
                <a:spcPts val="1500"/>
              </a:spcBef>
              <a:spcAft>
                <a:spcPts val="0"/>
              </a:spcAft>
              <a:defRPr sz="1500" cap="all" baseline="0">
                <a:solidFill>
                  <a:srgbClr val="747678"/>
                </a:solidFill>
                <a:latin typeface="+mn-lt"/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22646050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croche_visuel_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PPT_Packshot_244x130,5_01.jpg"/>
          <p:cNvPicPr preferRelativeResize="0">
            <a:picLocks/>
          </p:cNvPicPr>
          <p:nvPr userDrawn="1"/>
        </p:nvPicPr>
        <p:blipFill>
          <a:blip r:embed="rId2" cstate="print"/>
          <a:stretch>
            <a:fillRect/>
          </a:stretch>
        </p:blipFill>
        <p:spPr bwMode="gray">
          <a:xfrm>
            <a:off x="179388" y="180308"/>
            <a:ext cx="8782156" cy="4138157"/>
          </a:xfrm>
          <a:prstGeom prst="rect">
            <a:avLst/>
          </a:prstGeom>
        </p:spPr>
      </p:pic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7BA81D3-D3AA-4670-AFAA-11996D177ABF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rection Data &amp; IoT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9"/>
          </p:nvPr>
        </p:nvSpPr>
        <p:spPr bwMode="gray">
          <a:xfrm>
            <a:off x="539750" y="633883"/>
            <a:ext cx="8064500" cy="3600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4500" b="0" cap="all" baseline="0">
                <a:latin typeface="+mj-lt"/>
              </a:defRPr>
            </a:lvl1pPr>
            <a:lvl2pPr>
              <a:lnSpc>
                <a:spcPct val="90000"/>
              </a:lnSpc>
              <a:spcBef>
                <a:spcPts val="1500"/>
              </a:spcBef>
              <a:spcAft>
                <a:spcPts val="0"/>
              </a:spcAft>
              <a:defRPr sz="1500" cap="all" baseline="0">
                <a:solidFill>
                  <a:srgbClr val="747678"/>
                </a:solidFill>
                <a:latin typeface="+mn-lt"/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93688599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_2_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1" y="1743074"/>
            <a:ext cx="3960000" cy="2736851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7504C74-01F6-4630-AB44-0F3CF5B9D9BB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rection Data &amp; IoT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950913"/>
            <a:ext cx="80645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2" name="Espace réservé du contenu 2"/>
          <p:cNvSpPr>
            <a:spLocks noGrp="1"/>
          </p:cNvSpPr>
          <p:nvPr>
            <p:ph idx="19" hasCustomPrompt="1"/>
          </p:nvPr>
        </p:nvSpPr>
        <p:spPr bwMode="gray">
          <a:xfrm>
            <a:off x="4644250" y="1743074"/>
            <a:ext cx="3960000" cy="2736851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</p:spTree>
    <p:extLst>
      <p:ext uri="{BB962C8B-B14F-4D97-AF65-F5344CB8AC3E}">
        <p14:creationId xmlns:p14="http://schemas.microsoft.com/office/powerpoint/2010/main" val="25291775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1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1" y="1743074"/>
            <a:ext cx="3960000" cy="2736851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B32B4E0-4260-4F77-AD0B-85F2FD899989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rection Data &amp; IoT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950913"/>
            <a:ext cx="80645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1" name="Espace réservé pour une image  10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644250" y="1779588"/>
            <a:ext cx="3960000" cy="2520950"/>
          </a:xfrm>
          <a:prstGeom prst="rect">
            <a:avLst/>
          </a:prstGeom>
          <a:solidFill>
            <a:srgbClr val="D7D7D7"/>
          </a:solidFill>
        </p:spPr>
        <p:txBody>
          <a:bodyPr lIns="360000" tIns="1728000" rIns="360000" anchor="ctr" anchorCtr="0"/>
          <a:lstStyle>
            <a:lvl1pPr algn="ctr">
              <a:defRPr sz="1300" b="0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fr-FR"/>
              <a:t>Sélectionner l’icône pour insérer une image (format 110 x 70 mm)</a:t>
            </a:r>
          </a:p>
        </p:txBody>
      </p:sp>
    </p:spTree>
    <p:extLst>
      <p:ext uri="{BB962C8B-B14F-4D97-AF65-F5344CB8AC3E}">
        <p14:creationId xmlns:p14="http://schemas.microsoft.com/office/powerpoint/2010/main" val="5163011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5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 bwMode="gray">
          <a:xfrm>
            <a:off x="179389" y="179388"/>
            <a:ext cx="8785225" cy="3529012"/>
          </a:xfrm>
          <a:prstGeom prst="rect">
            <a:avLst/>
          </a:prstGeom>
          <a:solidFill>
            <a:srgbClr val="82BE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fr-FR" sz="1800" kern="0">
              <a:solidFill>
                <a:sysClr val="window" lastClr="FFFFFF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22030" y="1392521"/>
            <a:ext cx="8301404" cy="577285"/>
          </a:xfrm>
        </p:spPr>
        <p:txBody>
          <a:bodyPr anchor="b" anchorCtr="0">
            <a:spAutoFit/>
          </a:bodyPr>
          <a:lstStyle>
            <a:lvl1pPr>
              <a:defRPr sz="3600">
                <a:solidFill>
                  <a:srgbClr val="FFFFFF"/>
                </a:solidFill>
              </a:defRPr>
            </a:lvl1pPr>
          </a:lstStyle>
          <a:p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itle</a:t>
            </a:r>
            <a:r>
              <a:rPr lang="fr-FR"/>
              <a:t>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22030" y="2003425"/>
            <a:ext cx="8301404" cy="369332"/>
          </a:xfrm>
        </p:spPr>
        <p:txBody>
          <a:bodyPr>
            <a:spAutoFit/>
          </a:bodyPr>
          <a:lstStyle>
            <a:lvl1pPr>
              <a:defRPr sz="2400" b="0" cap="all" baseline="0">
                <a:solidFill>
                  <a:srgbClr val="FFFFFF"/>
                </a:solidFill>
              </a:defRPr>
            </a:lvl1pPr>
            <a:lvl2pPr>
              <a:defRPr sz="2400" b="0">
                <a:solidFill>
                  <a:srgbClr val="FFFFFF"/>
                </a:solidFill>
              </a:defRPr>
            </a:lvl2pPr>
            <a:lvl3pPr>
              <a:defRPr sz="2400" b="0">
                <a:solidFill>
                  <a:srgbClr val="FFFFFF"/>
                </a:solidFill>
              </a:defRPr>
            </a:lvl3pPr>
            <a:lvl4pPr>
              <a:defRPr sz="2400" b="0">
                <a:solidFill>
                  <a:srgbClr val="FFFFFF"/>
                </a:solidFill>
              </a:defRPr>
            </a:lvl4pPr>
            <a:lvl5pPr>
              <a:defRPr sz="2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ext</a:t>
            </a:r>
            <a:r>
              <a:rPr lang="fr-FR"/>
              <a:t>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422033" y="3248819"/>
            <a:ext cx="3530210" cy="246221"/>
          </a:xfrm>
        </p:spPr>
        <p:txBody>
          <a:bodyPr anchor="b" anchorCtr="0">
            <a:spAutoFit/>
          </a:bodyPr>
          <a:lstStyle>
            <a:lvl1pPr>
              <a:defRPr sz="1600" b="0">
                <a:solidFill>
                  <a:srgbClr val="FFFFFF"/>
                </a:solidFill>
              </a:defRPr>
            </a:lvl1pPr>
            <a:lvl2pPr>
              <a:defRPr b="0">
                <a:solidFill>
                  <a:srgbClr val="3C3732"/>
                </a:solidFill>
              </a:defRPr>
            </a:lvl2pPr>
            <a:lvl3pPr>
              <a:defRPr b="0">
                <a:solidFill>
                  <a:srgbClr val="3C3732"/>
                </a:solidFill>
              </a:defRPr>
            </a:lvl3pPr>
            <a:lvl4pPr>
              <a:defRPr b="0">
                <a:solidFill>
                  <a:srgbClr val="3C3732"/>
                </a:solidFill>
              </a:defRPr>
            </a:lvl4pPr>
            <a:lvl5pPr>
              <a:defRPr b="0">
                <a:solidFill>
                  <a:srgbClr val="3C3732"/>
                </a:solidFill>
              </a:defRPr>
            </a:lvl5pPr>
          </a:lstStyle>
          <a:p>
            <a:pPr lvl="0"/>
            <a:r>
              <a:rPr lang="fr-FR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76275539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1" y="1743075"/>
            <a:ext cx="8064499" cy="1665768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D89D372-02C0-4CEC-8B9C-FBA0C91D7564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rection Data &amp; IoT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950913"/>
            <a:ext cx="80645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tabLst/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1" name="Espace réservé du texte 13"/>
          <p:cNvSpPr>
            <a:spLocks noGrp="1"/>
          </p:cNvSpPr>
          <p:nvPr>
            <p:ph type="body" sz="quarter" idx="14"/>
          </p:nvPr>
        </p:nvSpPr>
        <p:spPr bwMode="gray">
          <a:xfrm>
            <a:off x="539750" y="3531246"/>
            <a:ext cx="4824000" cy="515901"/>
          </a:xfrm>
          <a:solidFill>
            <a:srgbClr val="D7D7D7"/>
          </a:solidFill>
          <a:ln w="82550">
            <a:solidFill>
              <a:srgbClr val="D7D7D7"/>
            </a:solidFill>
            <a:miter lim="800000"/>
          </a:ln>
        </p:spPr>
        <p:txBody>
          <a:bodyPr tIns="36000" bIns="36000">
            <a:sp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1600" b="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30320685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1" y="1743074"/>
            <a:ext cx="3960000" cy="2736851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AE0728A-27FB-49DC-AC04-F04CFCBA8642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rection Data &amp; IoT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950913"/>
            <a:ext cx="80645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tabLst/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Espace réservé du graphique 14"/>
          <p:cNvSpPr>
            <a:spLocks noGrp="1"/>
          </p:cNvSpPr>
          <p:nvPr>
            <p:ph type="chart" sz="quarter" idx="14" hasCustomPrompt="1"/>
          </p:nvPr>
        </p:nvSpPr>
        <p:spPr bwMode="gray">
          <a:xfrm>
            <a:off x="4644250" y="1779588"/>
            <a:ext cx="3960000" cy="2700337"/>
          </a:xfrm>
        </p:spPr>
        <p:txBody>
          <a:bodyPr tIns="720000" anchor="ctr" anchorCtr="0"/>
          <a:lstStyle>
            <a:lvl1pPr algn="ctr">
              <a:defRPr b="0" cap="all" baseline="0">
                <a:latin typeface="+mn-lt"/>
              </a:defRPr>
            </a:lvl1pPr>
          </a:lstStyle>
          <a:p>
            <a:r>
              <a:rPr lang="fr-FR"/>
              <a:t>GRAPHIQUE</a:t>
            </a:r>
          </a:p>
        </p:txBody>
      </p:sp>
    </p:spTree>
    <p:extLst>
      <p:ext uri="{BB962C8B-B14F-4D97-AF65-F5344CB8AC3E}">
        <p14:creationId xmlns:p14="http://schemas.microsoft.com/office/powerpoint/2010/main" val="102379483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_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5ADB5EC-2506-472F-B047-41C765B6887F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rection Data &amp; IoT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950913"/>
            <a:ext cx="80645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Espace réservé du graphique 14"/>
          <p:cNvSpPr>
            <a:spLocks noGrp="1"/>
          </p:cNvSpPr>
          <p:nvPr>
            <p:ph type="chart" sz="quarter" idx="14" hasCustomPrompt="1"/>
          </p:nvPr>
        </p:nvSpPr>
        <p:spPr bwMode="gray">
          <a:xfrm>
            <a:off x="539750" y="1779588"/>
            <a:ext cx="8064500" cy="2700337"/>
          </a:xfrm>
        </p:spPr>
        <p:txBody>
          <a:bodyPr tIns="720000" anchor="ctr" anchorCtr="0"/>
          <a:lstStyle>
            <a:lvl1pPr algn="ctr">
              <a:defRPr b="0" cap="all" baseline="0">
                <a:latin typeface="+mn-lt"/>
              </a:defRPr>
            </a:lvl1pPr>
          </a:lstStyle>
          <a:p>
            <a:r>
              <a:rPr lang="fr-FR"/>
              <a:t>GRAPHIQUE</a:t>
            </a:r>
          </a:p>
        </p:txBody>
      </p:sp>
    </p:spTree>
    <p:extLst>
      <p:ext uri="{BB962C8B-B14F-4D97-AF65-F5344CB8AC3E}">
        <p14:creationId xmlns:p14="http://schemas.microsoft.com/office/powerpoint/2010/main" val="257916908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_graphique_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graphique 14"/>
          <p:cNvSpPr>
            <a:spLocks noGrp="1"/>
          </p:cNvSpPr>
          <p:nvPr>
            <p:ph type="chart" sz="quarter" idx="14" hasCustomPrompt="1"/>
          </p:nvPr>
        </p:nvSpPr>
        <p:spPr bwMode="gray">
          <a:xfrm>
            <a:off x="539750" y="1779588"/>
            <a:ext cx="8064500" cy="2700337"/>
          </a:xfrm>
        </p:spPr>
        <p:txBody>
          <a:bodyPr tIns="720000" anchor="ctr" anchorCtr="0"/>
          <a:lstStyle>
            <a:lvl1pPr algn="ctr">
              <a:defRPr b="0" cap="all" baseline="0">
                <a:latin typeface="+mn-lt"/>
              </a:defRPr>
            </a:lvl1pPr>
          </a:lstStyle>
          <a:p>
            <a:r>
              <a:rPr lang="fr-FR"/>
              <a:t>GRAPHIQU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1D5112B-D742-4BE9-A1C7-2998EBB95023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rection Data &amp; IoT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950913"/>
            <a:ext cx="80645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5"/>
          </p:nvPr>
        </p:nvSpPr>
        <p:spPr bwMode="gray">
          <a:xfrm>
            <a:off x="5652120" y="1743075"/>
            <a:ext cx="2952131" cy="190857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79782934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_tableau_typ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72EA8D7-178B-4F08-AE2A-21AADFF848E7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rection Data &amp; IoT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950913"/>
            <a:ext cx="80645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du tableau 12"/>
          <p:cNvSpPr>
            <a:spLocks noGrp="1"/>
          </p:cNvSpPr>
          <p:nvPr>
            <p:ph type="tbl" sz="quarter" idx="14"/>
          </p:nvPr>
        </p:nvSpPr>
        <p:spPr bwMode="gray">
          <a:xfrm>
            <a:off x="539751" y="1779588"/>
            <a:ext cx="8064499" cy="2340000"/>
          </a:xfrm>
        </p:spPr>
        <p:txBody>
          <a:bodyPr tIns="720000" anchor="ctr" anchorCtr="0"/>
          <a:lstStyle>
            <a:lvl1pPr algn="ctr">
              <a:spcAft>
                <a:spcPts val="0"/>
              </a:spcAft>
              <a:defRPr b="0" cap="all" baseline="0"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987674" y="4146620"/>
            <a:ext cx="900000" cy="216000"/>
          </a:xfr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8" name="Espace réservé du texte 16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807804" y="4209318"/>
            <a:ext cx="93600" cy="93600"/>
          </a:xfrm>
          <a:prstGeom prst="ellipse">
            <a:avLst/>
          </a:prstGeom>
          <a:solidFill>
            <a:schemeClr val="accent1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9" name="Espace réservé du texte 16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166818" y="4146620"/>
            <a:ext cx="900000" cy="216000"/>
          </a:xfr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0" name="Espace réservé du texte 1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986948" y="4209318"/>
            <a:ext cx="93600" cy="93600"/>
          </a:xfrm>
          <a:prstGeom prst="ellipse">
            <a:avLst/>
          </a:prstGeom>
          <a:solidFill>
            <a:schemeClr val="accent2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1" name="Espace réservé du texte 16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345962" y="4146620"/>
            <a:ext cx="900000" cy="216000"/>
          </a:xfr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2" name="Espace réservé du texte 1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166092" y="4209318"/>
            <a:ext cx="93600" cy="93600"/>
          </a:xfrm>
          <a:prstGeom prst="ellipse">
            <a:avLst/>
          </a:prstGeom>
          <a:solidFill>
            <a:schemeClr val="accent4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3" name="Espace réservé du texte 16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525106" y="4146620"/>
            <a:ext cx="900000" cy="216000"/>
          </a:xfr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4" name="Espace réservé du texte 16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345236" y="4209318"/>
            <a:ext cx="93600" cy="93600"/>
          </a:xfrm>
          <a:prstGeom prst="ellipse">
            <a:avLst/>
          </a:prstGeom>
          <a:solidFill>
            <a:schemeClr val="accent5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5" name="Espace réservé du texte 16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704250" y="4146620"/>
            <a:ext cx="900000" cy="216000"/>
          </a:xfr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6" name="Espace réservé du texte 16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7524380" y="4209318"/>
            <a:ext cx="93600" cy="93600"/>
          </a:xfrm>
          <a:prstGeom prst="ellipse">
            <a:avLst/>
          </a:prstGeom>
          <a:solidFill>
            <a:schemeClr val="bg2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5239962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_tableau_typ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BE41C0D-DD77-4A07-B9D1-A322A7992973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rection Data &amp; IoT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950913"/>
            <a:ext cx="80645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tabLst/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du tableau 12"/>
          <p:cNvSpPr>
            <a:spLocks noGrp="1"/>
          </p:cNvSpPr>
          <p:nvPr>
            <p:ph type="tbl" sz="quarter" idx="14"/>
          </p:nvPr>
        </p:nvSpPr>
        <p:spPr bwMode="gray">
          <a:xfrm>
            <a:off x="539750" y="1779588"/>
            <a:ext cx="8064499" cy="2160000"/>
          </a:xfrm>
        </p:spPr>
        <p:txBody>
          <a:bodyPr tIns="720000" anchor="ctr" anchorCtr="0"/>
          <a:lstStyle>
            <a:lvl1pPr algn="ctr">
              <a:spcAft>
                <a:spcPts val="0"/>
              </a:spcAft>
              <a:defRPr b="0" cap="all" baseline="0"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987674" y="4148070"/>
            <a:ext cx="900000" cy="216000"/>
          </a:xfr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8" name="Espace réservé du texte 16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807804" y="4209318"/>
            <a:ext cx="93600" cy="93600"/>
          </a:xfrm>
          <a:prstGeom prst="ellipse">
            <a:avLst/>
          </a:prstGeom>
          <a:solidFill>
            <a:schemeClr val="accent6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9" name="Espace réservé du texte 16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166818" y="4148070"/>
            <a:ext cx="900000" cy="216000"/>
          </a:xfr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0" name="Espace réservé du texte 1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986948" y="4209318"/>
            <a:ext cx="93600" cy="93600"/>
          </a:xfrm>
          <a:prstGeom prst="ellipse">
            <a:avLst/>
          </a:prstGeom>
          <a:solidFill>
            <a:schemeClr val="accent2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1" name="Espace réservé du texte 16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345962" y="4148070"/>
            <a:ext cx="900000" cy="216000"/>
          </a:xfr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2" name="Espace réservé du texte 1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166092" y="4209318"/>
            <a:ext cx="93600" cy="93600"/>
          </a:xfrm>
          <a:prstGeom prst="ellipse">
            <a:avLst/>
          </a:prstGeom>
          <a:solidFill>
            <a:schemeClr val="accent4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3" name="Espace réservé du texte 16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525106" y="4148070"/>
            <a:ext cx="900000" cy="216000"/>
          </a:xfr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4" name="Espace réservé du texte 16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345236" y="4209318"/>
            <a:ext cx="93600" cy="93600"/>
          </a:xfrm>
          <a:prstGeom prst="ellipse">
            <a:avLst/>
          </a:prstGeom>
          <a:solidFill>
            <a:schemeClr val="accent5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5" name="Espace réservé du texte 16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704250" y="4148070"/>
            <a:ext cx="900000" cy="216000"/>
          </a:xfr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6" name="Espace réservé du texte 16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7524380" y="4209318"/>
            <a:ext cx="93600" cy="93600"/>
          </a:xfrm>
          <a:prstGeom prst="ellipse">
            <a:avLst/>
          </a:prstGeom>
          <a:solidFill>
            <a:schemeClr val="bg2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2605281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&amp;_cartouche_dro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1" y="1743075"/>
            <a:ext cx="3960000" cy="273685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176E9C3-CEBF-4F89-81AF-86A7F144D61B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rection Data &amp; IoT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950913"/>
            <a:ext cx="80645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/>
          </p:nvPr>
        </p:nvSpPr>
        <p:spPr bwMode="gray">
          <a:xfrm>
            <a:off x="4644250" y="1779588"/>
            <a:ext cx="3960000" cy="486000"/>
          </a:xfrm>
          <a:solidFill>
            <a:schemeClr val="accent1"/>
          </a:solidFill>
        </p:spPr>
        <p:txBody>
          <a:bodyPr lIns="288000" tIns="18000" rIns="72000" bIns="0" anchor="ctr" anchorCtr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b="0" cap="all" baseline="0">
                <a:solidFill>
                  <a:schemeClr val="bg1"/>
                </a:solidFill>
                <a:latin typeface="Avenir LT Std 65 Medium" pitchFamily="34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du texte 11"/>
          <p:cNvSpPr>
            <a:spLocks noGrp="1"/>
          </p:cNvSpPr>
          <p:nvPr>
            <p:ph type="body" sz="quarter" idx="15"/>
          </p:nvPr>
        </p:nvSpPr>
        <p:spPr bwMode="gray">
          <a:xfrm>
            <a:off x="4644250" y="2355726"/>
            <a:ext cx="3960000" cy="1944812"/>
          </a:xfrm>
          <a:solidFill>
            <a:schemeClr val="accent1"/>
          </a:solidFill>
        </p:spPr>
        <p:txBody>
          <a:bodyPr wrap="square" lIns="144000" tIns="72000" rIns="72000" bIns="72000" anchor="t" anchorCtr="0">
            <a:noAutofit/>
          </a:bodyPr>
          <a:lstStyle>
            <a:lvl1pPr marL="144000" indent="-144000">
              <a:buFont typeface="Avenir LT Std 45 Book" pitchFamily="34" charset="0"/>
              <a:buChar char="+"/>
              <a:defRPr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48441941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&amp;_cartouche_gau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4824250" y="1156814"/>
            <a:ext cx="3780000" cy="3323111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94C59B0-EB75-48D3-BC1C-1DDE96C8D16E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rection Data &amp; IoT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/>
          </p:nvPr>
        </p:nvSpPr>
        <p:spPr bwMode="gray">
          <a:xfrm>
            <a:off x="539750" y="519522"/>
            <a:ext cx="3780000" cy="3781016"/>
          </a:xfrm>
          <a:solidFill>
            <a:schemeClr val="accent1"/>
          </a:solidFill>
        </p:spPr>
        <p:txBody>
          <a:bodyPr lIns="288000" tIns="630000" rIns="72000" bIns="108000" anchor="t" anchorCtr="0">
            <a:noAutofit/>
          </a:bodyPr>
          <a:lstStyle>
            <a:lvl1pPr marL="216000" indent="-216000">
              <a:lnSpc>
                <a:spcPct val="90000"/>
              </a:lnSpc>
              <a:spcAft>
                <a:spcPts val="0"/>
              </a:spcAft>
              <a:buFont typeface="Avenir LT Std 65 Medium" pitchFamily="34" charset="0"/>
              <a:buChar char="+"/>
              <a:defRPr sz="2200" b="0" cap="all" baseline="0">
                <a:solidFill>
                  <a:schemeClr val="bg1"/>
                </a:solidFill>
                <a:latin typeface="Avenir LT Std 65 Medium" pitchFamily="34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868496783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_&amp;_2_cartouch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DA16CD8-5597-4223-ABEA-6824BDA8A040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rection Data &amp; IoT</a:t>
            </a:r>
          </a:p>
        </p:txBody>
      </p:sp>
      <p:sp>
        <p:nvSpPr>
          <p:cNvPr id="13" name="Espace réservé du texte 11"/>
          <p:cNvSpPr>
            <a:spLocks noGrp="1"/>
          </p:cNvSpPr>
          <p:nvPr>
            <p:ph type="body" sz="quarter" idx="15"/>
          </p:nvPr>
        </p:nvSpPr>
        <p:spPr bwMode="gray">
          <a:xfrm>
            <a:off x="4824250" y="519113"/>
            <a:ext cx="3780000" cy="3781425"/>
          </a:xfrm>
          <a:noFill/>
        </p:spPr>
        <p:txBody>
          <a:bodyPr lIns="0" tIns="36000" rIns="0" bIns="0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2200" b="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930339" y="2049826"/>
            <a:ext cx="720000" cy="720000"/>
          </a:xfrm>
          <a:prstGeom prst="diamond">
            <a:avLst/>
          </a:prstGeom>
          <a:solidFill>
            <a:schemeClr val="accent1"/>
          </a:solidFill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100" b="0" cap="all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/>
          </p:nvPr>
        </p:nvSpPr>
        <p:spPr bwMode="gray">
          <a:xfrm>
            <a:off x="539750" y="519114"/>
            <a:ext cx="3780000" cy="3781424"/>
          </a:xfrm>
          <a:solidFill>
            <a:schemeClr val="accent1"/>
          </a:solidFill>
        </p:spPr>
        <p:txBody>
          <a:bodyPr lIns="288000" tIns="144000" rIns="72000" bIns="108000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22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587596353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artouches_petites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9750" y="2427453"/>
            <a:ext cx="2520082" cy="1873085"/>
          </a:xfrm>
          <a:solidFill>
            <a:srgbClr val="D7D7D7"/>
          </a:solidFill>
        </p:spPr>
        <p:txBody>
          <a:bodyPr lIns="144000" tIns="1008000" rIns="72000" bIns="36000" anchor="t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1200" b="0" cap="all" baseline="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66BB509-2C56-4C90-917C-CF33B3AF4BF5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rection Data &amp; IoT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950913"/>
            <a:ext cx="80645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39750" y="1779588"/>
            <a:ext cx="2520082" cy="648000"/>
          </a:xfrm>
          <a:solidFill>
            <a:schemeClr val="accent1"/>
          </a:solidFill>
        </p:spPr>
        <p:txBody>
          <a:bodyPr lIns="144000" tIns="72000" rIns="72000" bIns="36000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0. titre</a:t>
            </a:r>
          </a:p>
        </p:txBody>
      </p:sp>
      <p:sp>
        <p:nvSpPr>
          <p:cNvPr id="17" name="Espace réservé pour une image  10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83568" y="2499833"/>
            <a:ext cx="828000" cy="828000"/>
          </a:xfrm>
          <a:prstGeom prst="rect">
            <a:avLst/>
          </a:prstGeom>
          <a:noFill/>
        </p:spPr>
        <p:txBody>
          <a:bodyPr lIns="0" tIns="0" rIns="0" anchor="ctr" anchorCtr="0"/>
          <a:lstStyle>
            <a:lvl1pPr algn="ctr">
              <a:defRPr sz="800" b="0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fr-FR"/>
              <a:t>Sélectionner l’icône pour insérer une image (format 23 x 23 mm)</a:t>
            </a:r>
          </a:p>
        </p:txBody>
      </p:sp>
      <p:sp>
        <p:nvSpPr>
          <p:cNvPr id="18" name="Espace réservé du texte 11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311959" y="2427454"/>
            <a:ext cx="2520082" cy="1873085"/>
          </a:xfrm>
          <a:solidFill>
            <a:srgbClr val="D7D7D7"/>
          </a:solidFill>
        </p:spPr>
        <p:txBody>
          <a:bodyPr lIns="144000" tIns="1008000" rIns="72000" bIns="36000" anchor="t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1200" b="0" cap="all" baseline="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9" name="Espace réservé du texte 11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311959" y="1779589"/>
            <a:ext cx="2520082" cy="648000"/>
          </a:xfrm>
          <a:solidFill>
            <a:schemeClr val="accent1"/>
          </a:solidFill>
        </p:spPr>
        <p:txBody>
          <a:bodyPr lIns="144000" tIns="72000" rIns="72000" bIns="36000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0. titre</a:t>
            </a:r>
          </a:p>
        </p:txBody>
      </p:sp>
      <p:sp>
        <p:nvSpPr>
          <p:cNvPr id="20" name="Espace réservé pour une image  10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3455777" y="2499834"/>
            <a:ext cx="828000" cy="828000"/>
          </a:xfrm>
          <a:prstGeom prst="rect">
            <a:avLst/>
          </a:prstGeom>
          <a:noFill/>
        </p:spPr>
        <p:txBody>
          <a:bodyPr lIns="0" tIns="0" rIns="0" anchor="ctr" anchorCtr="0"/>
          <a:lstStyle>
            <a:lvl1pPr algn="ctr">
              <a:defRPr sz="800" b="0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fr-FR"/>
              <a:t>Sélectionner l’icône pour insérer une image (format 23 x 23 mm)</a:t>
            </a:r>
          </a:p>
        </p:txBody>
      </p:sp>
      <p:sp>
        <p:nvSpPr>
          <p:cNvPr id="21" name="Espace réservé du texte 11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084168" y="2427454"/>
            <a:ext cx="2520082" cy="1873085"/>
          </a:xfrm>
          <a:solidFill>
            <a:schemeClr val="accent1"/>
          </a:solidFill>
        </p:spPr>
        <p:txBody>
          <a:bodyPr lIns="144000" tIns="1008000" rIns="72000" bIns="36000" anchor="t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1200" b="0" cap="all" baseline="0">
                <a:solidFill>
                  <a:schemeClr val="bg1"/>
                </a:solidFill>
                <a:latin typeface="Avenir LT Std 35 Light" pitchFamily="34" charset="0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2" name="Espace réservé du texte 11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084168" y="1779589"/>
            <a:ext cx="2520082" cy="648000"/>
          </a:xfrm>
          <a:solidFill>
            <a:schemeClr val="accent1"/>
          </a:solidFill>
        </p:spPr>
        <p:txBody>
          <a:bodyPr lIns="144000" tIns="72000" rIns="72000" bIns="36000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0. titre</a:t>
            </a:r>
          </a:p>
        </p:txBody>
      </p:sp>
      <p:sp>
        <p:nvSpPr>
          <p:cNvPr id="23" name="Espace réservé pour une image  10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6227986" y="2499834"/>
            <a:ext cx="828000" cy="828000"/>
          </a:xfrm>
          <a:prstGeom prst="rect">
            <a:avLst/>
          </a:prstGeom>
          <a:noFill/>
        </p:spPr>
        <p:txBody>
          <a:bodyPr lIns="0" tIns="0" rIns="0" anchor="ctr" anchorCtr="0"/>
          <a:lstStyle>
            <a:lvl1pPr algn="ctr">
              <a:defRPr sz="800" b="0" cap="all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/>
              <a:t>Sélectionner l’icône pour insérer une image (format 23 x 23 mm)</a:t>
            </a:r>
          </a:p>
        </p:txBody>
      </p:sp>
    </p:spTree>
    <p:extLst>
      <p:ext uri="{BB962C8B-B14F-4D97-AF65-F5344CB8AC3E}">
        <p14:creationId xmlns:p14="http://schemas.microsoft.com/office/powerpoint/2010/main" val="27525846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539763" y="485785"/>
            <a:ext cx="8064499" cy="465137"/>
          </a:xfrm>
          <a:prstGeom prst="rect">
            <a:avLst/>
          </a:prstGeom>
        </p:spPr>
        <p:txBody>
          <a:bodyPr/>
          <a:lstStyle>
            <a:lvl1pPr>
              <a:defRPr>
                <a:latin typeface="Avenir LT Std 65 Medium" pitchFamily="34" charset="0"/>
              </a:defRPr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>
              <a:defRPr b="1">
                <a:latin typeface="Avenir LT Std 65 Medium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950913"/>
            <a:ext cx="80645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201178883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artouches_grandes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669B4F0-8DF5-4BA1-A22C-2E2F97E3E189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rection Data &amp; IoT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950913"/>
            <a:ext cx="80645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39750" y="1779588"/>
            <a:ext cx="2520082" cy="648000"/>
          </a:xfrm>
          <a:solidFill>
            <a:schemeClr val="accent1"/>
          </a:solidFill>
        </p:spPr>
        <p:txBody>
          <a:bodyPr lIns="144000" tIns="72000" rIns="72000" bIns="36000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0. titre</a:t>
            </a:r>
          </a:p>
        </p:txBody>
      </p:sp>
      <p:sp>
        <p:nvSpPr>
          <p:cNvPr id="17" name="Espace réservé pour une image  10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539832" y="2427589"/>
            <a:ext cx="2520000" cy="1872950"/>
          </a:xfrm>
          <a:prstGeom prst="rect">
            <a:avLst/>
          </a:prstGeom>
          <a:solidFill>
            <a:srgbClr val="D7D7D7"/>
          </a:solidFill>
        </p:spPr>
        <p:txBody>
          <a:bodyPr lIns="36000" tIns="972000" rIns="36000" anchor="ctr" anchorCtr="0"/>
          <a:lstStyle>
            <a:lvl1pPr algn="ctr">
              <a:defRPr sz="1300" b="0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fr-FR"/>
              <a:t>Sélectionner l’icône pour insérer une image format ( 70 x 52 mm)</a:t>
            </a:r>
          </a:p>
        </p:txBody>
      </p:sp>
      <p:sp>
        <p:nvSpPr>
          <p:cNvPr id="25" name="Espace réservé du texte 11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311959" y="1779588"/>
            <a:ext cx="2520082" cy="648000"/>
          </a:xfrm>
          <a:solidFill>
            <a:schemeClr val="accent1"/>
          </a:solidFill>
        </p:spPr>
        <p:txBody>
          <a:bodyPr lIns="144000" tIns="72000" rIns="72000" bIns="36000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0. titre</a:t>
            </a:r>
          </a:p>
        </p:txBody>
      </p:sp>
      <p:sp>
        <p:nvSpPr>
          <p:cNvPr id="26" name="Espace réservé pour une image  10"/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3312041" y="2427589"/>
            <a:ext cx="2520000" cy="1872950"/>
          </a:xfrm>
          <a:prstGeom prst="rect">
            <a:avLst/>
          </a:prstGeom>
          <a:solidFill>
            <a:srgbClr val="D7D7D7"/>
          </a:solidFill>
        </p:spPr>
        <p:txBody>
          <a:bodyPr lIns="36000" tIns="972000" rIns="36000" anchor="ctr" anchorCtr="0"/>
          <a:lstStyle>
            <a:lvl1pPr algn="ctr">
              <a:defRPr sz="1300" b="0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fr-FR"/>
              <a:t>Sélectionner l’icône pour insérer une image format ( 70 x 52 mm)</a:t>
            </a:r>
          </a:p>
        </p:txBody>
      </p:sp>
      <p:sp>
        <p:nvSpPr>
          <p:cNvPr id="27" name="Espace réservé du texte 11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084168" y="1779588"/>
            <a:ext cx="2520082" cy="648000"/>
          </a:xfrm>
          <a:solidFill>
            <a:schemeClr val="accent1"/>
          </a:solidFill>
        </p:spPr>
        <p:txBody>
          <a:bodyPr lIns="144000" tIns="72000" rIns="72000" bIns="36000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0. titre</a:t>
            </a:r>
          </a:p>
        </p:txBody>
      </p:sp>
      <p:sp>
        <p:nvSpPr>
          <p:cNvPr id="28" name="Espace réservé pour une image  10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6084250" y="2427589"/>
            <a:ext cx="2520000" cy="1872950"/>
          </a:xfrm>
          <a:prstGeom prst="rect">
            <a:avLst/>
          </a:prstGeom>
          <a:solidFill>
            <a:srgbClr val="D7D7D7"/>
          </a:solidFill>
        </p:spPr>
        <p:txBody>
          <a:bodyPr lIns="36000" tIns="972000" rIns="36000" anchor="ctr" anchorCtr="0"/>
          <a:lstStyle>
            <a:lvl1pPr algn="ctr">
              <a:defRPr sz="1300" b="0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fr-FR"/>
              <a:t>Sélectionner l’icône pour insérer une image format ( 70 x 52 mm)</a:t>
            </a:r>
          </a:p>
        </p:txBody>
      </p:sp>
    </p:spTree>
    <p:extLst>
      <p:ext uri="{BB962C8B-B14F-4D97-AF65-F5344CB8AC3E}">
        <p14:creationId xmlns:p14="http://schemas.microsoft.com/office/powerpoint/2010/main" val="3917911038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ta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80EA437-ED4A-4226-A5EF-1197189D3435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rection Data &amp; IoT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447675"/>
            <a:ext cx="8064500" cy="4032250"/>
          </a:xfrm>
        </p:spPr>
        <p:txBody>
          <a:bodyPr anchor="ctr" anchorCtr="0"/>
          <a:lstStyle>
            <a:lvl1pPr marL="360000" indent="-360000">
              <a:lnSpc>
                <a:spcPct val="90000"/>
              </a:lnSpc>
              <a:spcBef>
                <a:spcPts val="3200"/>
              </a:spcBef>
              <a:buFont typeface="Avenir LT Std 65 Medium" pitchFamily="34" charset="0"/>
              <a:buChar char="+"/>
              <a:defRPr sz="2800" b="0" cap="all" baseline="0"/>
            </a:lvl1pPr>
            <a:lvl2pPr marL="360000">
              <a:lnSpc>
                <a:spcPct val="90000"/>
              </a:lnSpc>
              <a:spcAft>
                <a:spcPts val="0"/>
              </a:spcAft>
              <a:defRPr sz="1500" cap="all" baseline="0">
                <a:latin typeface="+mn-lt"/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867720673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r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1" y="1743074"/>
            <a:ext cx="3960000" cy="2736851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7F75F6D-0BC2-4A9F-8C96-23929DF4DCEB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rection Data &amp; IoT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950913"/>
            <a:ext cx="48240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937250012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- 2/3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pour une image  6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3533775"/>
          </a:xfrm>
        </p:spPr>
        <p:txBody>
          <a:bodyPr/>
          <a:lstStyle>
            <a:lvl1pPr algn="ctr"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GB"/>
              <a:t>Insert your picture here</a:t>
            </a:r>
          </a:p>
        </p:txBody>
      </p:sp>
    </p:spTree>
    <p:extLst>
      <p:ext uri="{BB962C8B-B14F-4D97-AF65-F5344CB8AC3E}">
        <p14:creationId xmlns:p14="http://schemas.microsoft.com/office/powerpoint/2010/main" val="2167949761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1" y="1743074"/>
            <a:ext cx="8064499" cy="2736851"/>
          </a:xfrm>
          <a:prstGeom prst="rect">
            <a:avLst/>
          </a:prstGeom>
        </p:spPr>
        <p:txBody>
          <a:bodyPr/>
          <a:lstStyle>
            <a:lvl1pPr>
              <a:defRPr b="1">
                <a:latin typeface="Avenir LT Std 65 Medium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10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49" y="4813200"/>
            <a:ext cx="7669213" cy="162000"/>
          </a:xfrm>
          <a:prstGeom prst="rect">
            <a:avLst/>
          </a:prstGeom>
        </p:spPr>
        <p:txBody>
          <a:bodyPr/>
          <a:lstStyle/>
          <a:p>
            <a:fld id="{1C498F7B-E602-A041-8302-9D59DB2EB5CB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12" name="Espace réservé du texte 13"/>
          <p:cNvSpPr>
            <a:spLocks noGrp="1"/>
          </p:cNvSpPr>
          <p:nvPr>
            <p:ph type="body" sz="quarter" idx="14"/>
          </p:nvPr>
        </p:nvSpPr>
        <p:spPr bwMode="gray">
          <a:xfrm>
            <a:off x="538480" y="371793"/>
            <a:ext cx="8035290" cy="43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3200" b="0" i="0" cap="none" baseline="0">
                <a:solidFill>
                  <a:srgbClr val="71B304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950913"/>
            <a:ext cx="8064500" cy="432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i="0" cap="none" baseline="0">
                <a:solidFill>
                  <a:srgbClr val="747678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14412566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_typ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539750" y="486000"/>
            <a:ext cx="8064499" cy="464913"/>
          </a:xfrm>
        </p:spPr>
        <p:txBody>
          <a:bodyPr/>
          <a:lstStyle>
            <a:lvl1pPr>
              <a:defRPr b="0"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9A3E2CD-B694-49CF-B8ED-C422CE8C8F3D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rection Data &amp; IoT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39750" y="1267898"/>
            <a:ext cx="4722255" cy="230832"/>
          </a:xfrm>
          <a:solidFill>
            <a:schemeClr val="accent1"/>
          </a:solidFill>
        </p:spPr>
        <p:txBody>
          <a:bodyPr wrap="none" anchor="t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tabLst>
                <a:tab pos="355600" algn="l"/>
              </a:tabLst>
              <a:defRPr sz="1500" b="0" cap="all" baseline="0">
                <a:solidFill>
                  <a:schemeClr val="bg1"/>
                </a:solidFill>
                <a:latin typeface="Avenir LT Std 65 Medium" pitchFamily="34" charset="0"/>
              </a:defRPr>
            </a:lvl1pPr>
          </a:lstStyle>
          <a:p>
            <a:pPr lvl="0"/>
            <a:r>
              <a:rPr lang="fr-FR"/>
              <a:t>01.	Titre partie (tabulation après le chiffre)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/>
          </p:nvPr>
        </p:nvSpPr>
        <p:spPr bwMode="gray">
          <a:xfrm>
            <a:off x="900113" y="1540350"/>
            <a:ext cx="7704137" cy="468000"/>
          </a:xfrm>
        </p:spPr>
        <p:txBody>
          <a:bodyPr/>
          <a:lstStyle>
            <a:lvl1pPr marL="144000" indent="-144000">
              <a:lnSpc>
                <a:spcPct val="90000"/>
              </a:lnSpc>
              <a:spcAft>
                <a:spcPts val="0"/>
              </a:spcAft>
              <a:buFont typeface="Avenir LT Std 45 Book" pitchFamily="34" charset="0"/>
              <a:buChar char="+"/>
              <a:defRPr sz="1500" b="0" cap="all" baseline="0">
                <a:solidFill>
                  <a:schemeClr val="tx1"/>
                </a:solidFill>
                <a:latin typeface="+mn-lt"/>
              </a:defRPr>
            </a:lvl1pPr>
            <a:lvl2pPr marL="144000">
              <a:lnSpc>
                <a:spcPct val="90000"/>
              </a:lnSpc>
              <a:spcAft>
                <a:spcPts val="0"/>
              </a:spcAft>
              <a:defRPr b="0">
                <a:latin typeface="Avenir LT Std 65 Medium" pitchFamily="34" charset="0"/>
              </a:defRPr>
            </a:lvl2pPr>
            <a:lvl3pPr indent="0">
              <a:spcAft>
                <a:spcPts val="0"/>
              </a:spcAft>
              <a:buNone/>
              <a:defRPr b="1"/>
            </a:lvl3pPr>
            <a:lvl4pPr marL="144000" indent="0">
              <a:buNone/>
              <a:defRPr sz="1300" b="1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Espace réservé du texte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9750" y="2057556"/>
            <a:ext cx="4722255" cy="230832"/>
          </a:xfrm>
          <a:solidFill>
            <a:schemeClr val="accent1"/>
          </a:solidFill>
        </p:spPr>
        <p:txBody>
          <a:bodyPr wrap="none" anchor="t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tabLst>
                <a:tab pos="355600" algn="l"/>
              </a:tabLst>
              <a:defRPr sz="1500" b="0" cap="all" baseline="0">
                <a:solidFill>
                  <a:schemeClr val="bg1"/>
                </a:solidFill>
                <a:latin typeface="Avenir LT Std 65 Medium" pitchFamily="34" charset="0"/>
              </a:defRPr>
            </a:lvl1pPr>
          </a:lstStyle>
          <a:p>
            <a:pPr lvl="0"/>
            <a:r>
              <a:rPr lang="fr-FR"/>
              <a:t>01.	Titre partie (tabulation après le chiffre)</a:t>
            </a:r>
          </a:p>
        </p:txBody>
      </p:sp>
      <p:sp>
        <p:nvSpPr>
          <p:cNvPr id="19" name="Espace réservé du texte 11"/>
          <p:cNvSpPr>
            <a:spLocks noGrp="1"/>
          </p:cNvSpPr>
          <p:nvPr>
            <p:ph type="body" sz="quarter" idx="16"/>
          </p:nvPr>
        </p:nvSpPr>
        <p:spPr bwMode="gray">
          <a:xfrm>
            <a:off x="900113" y="2330008"/>
            <a:ext cx="7704137" cy="468000"/>
          </a:xfrm>
        </p:spPr>
        <p:txBody>
          <a:bodyPr/>
          <a:lstStyle>
            <a:lvl1pPr marL="144000" indent="-144000">
              <a:lnSpc>
                <a:spcPct val="90000"/>
              </a:lnSpc>
              <a:spcAft>
                <a:spcPts val="0"/>
              </a:spcAft>
              <a:buFont typeface="Avenir LT Std 45 Book" pitchFamily="34" charset="0"/>
              <a:buChar char="+"/>
              <a:defRPr sz="1500" b="0" cap="all" baseline="0">
                <a:solidFill>
                  <a:schemeClr val="tx1"/>
                </a:solidFill>
                <a:latin typeface="+mn-lt"/>
              </a:defRPr>
            </a:lvl1pPr>
            <a:lvl2pPr marL="144000">
              <a:lnSpc>
                <a:spcPct val="90000"/>
              </a:lnSpc>
              <a:spcAft>
                <a:spcPts val="0"/>
              </a:spcAft>
              <a:defRPr b="0">
                <a:latin typeface="Avenir LT Std 65 Medium" pitchFamily="34" charset="0"/>
              </a:defRPr>
            </a:lvl2pPr>
            <a:lvl3pPr indent="0">
              <a:spcAft>
                <a:spcPts val="0"/>
              </a:spcAft>
              <a:buNone/>
              <a:defRPr/>
            </a:lvl3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0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39750" y="2851749"/>
            <a:ext cx="4722255" cy="230832"/>
          </a:xfrm>
          <a:solidFill>
            <a:schemeClr val="accent1"/>
          </a:solidFill>
        </p:spPr>
        <p:txBody>
          <a:bodyPr wrap="none" anchor="t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tabLst>
                <a:tab pos="355600" algn="l"/>
              </a:tabLst>
              <a:defRPr sz="1500" b="0" cap="all" baseline="0">
                <a:solidFill>
                  <a:schemeClr val="bg1"/>
                </a:solidFill>
                <a:latin typeface="Avenir LT Std 65 Medium" pitchFamily="34" charset="0"/>
              </a:defRPr>
            </a:lvl1pPr>
          </a:lstStyle>
          <a:p>
            <a:pPr lvl="0"/>
            <a:r>
              <a:rPr lang="fr-FR"/>
              <a:t>01.	Titre partie (tabulation après le chiffre)</a:t>
            </a:r>
          </a:p>
        </p:txBody>
      </p:sp>
      <p:sp>
        <p:nvSpPr>
          <p:cNvPr id="21" name="Espace réservé du texte 11"/>
          <p:cNvSpPr>
            <a:spLocks noGrp="1"/>
          </p:cNvSpPr>
          <p:nvPr>
            <p:ph type="body" sz="quarter" idx="18"/>
          </p:nvPr>
        </p:nvSpPr>
        <p:spPr bwMode="gray">
          <a:xfrm>
            <a:off x="900113" y="3124201"/>
            <a:ext cx="7704137" cy="468000"/>
          </a:xfrm>
        </p:spPr>
        <p:txBody>
          <a:bodyPr/>
          <a:lstStyle>
            <a:lvl1pPr marL="144000" indent="-144000">
              <a:lnSpc>
                <a:spcPct val="90000"/>
              </a:lnSpc>
              <a:spcAft>
                <a:spcPts val="0"/>
              </a:spcAft>
              <a:buFont typeface="Avenir LT Std 45 Book" pitchFamily="34" charset="0"/>
              <a:buChar char="+"/>
              <a:defRPr sz="1500" b="0" cap="all" baseline="0">
                <a:solidFill>
                  <a:schemeClr val="tx1"/>
                </a:solidFill>
                <a:latin typeface="+mn-lt"/>
              </a:defRPr>
            </a:lvl1pPr>
            <a:lvl2pPr marL="144000">
              <a:lnSpc>
                <a:spcPct val="90000"/>
              </a:lnSpc>
              <a:spcAft>
                <a:spcPts val="0"/>
              </a:spcAft>
              <a:defRPr b="0">
                <a:latin typeface="Avenir LT Std 65 Medium" pitchFamily="34" charset="0"/>
              </a:defRPr>
            </a:lvl2pPr>
            <a:lvl3pPr indent="0">
              <a:spcAft>
                <a:spcPts val="0"/>
              </a:spcAft>
              <a:buNone/>
              <a:defRPr/>
            </a:lvl3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2" name="Espace réservé du texte 1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39750" y="3652188"/>
            <a:ext cx="4722255" cy="230832"/>
          </a:xfrm>
          <a:solidFill>
            <a:schemeClr val="accent1"/>
          </a:solidFill>
        </p:spPr>
        <p:txBody>
          <a:bodyPr wrap="none" anchor="t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tabLst>
                <a:tab pos="355600" algn="l"/>
              </a:tabLst>
              <a:defRPr sz="1500" b="0" cap="all" baseline="0">
                <a:solidFill>
                  <a:schemeClr val="bg1"/>
                </a:solidFill>
                <a:latin typeface="Avenir LT Std 65 Medium" pitchFamily="34" charset="0"/>
              </a:defRPr>
            </a:lvl1pPr>
          </a:lstStyle>
          <a:p>
            <a:pPr lvl="0"/>
            <a:r>
              <a:rPr lang="fr-FR"/>
              <a:t>01.	Titre partie (tabulation après le chiffre)</a:t>
            </a:r>
          </a:p>
        </p:txBody>
      </p:sp>
      <p:sp>
        <p:nvSpPr>
          <p:cNvPr id="23" name="Espace réservé du texte 11"/>
          <p:cNvSpPr>
            <a:spLocks noGrp="1"/>
          </p:cNvSpPr>
          <p:nvPr>
            <p:ph type="body" sz="quarter" idx="20"/>
          </p:nvPr>
        </p:nvSpPr>
        <p:spPr bwMode="gray">
          <a:xfrm>
            <a:off x="900113" y="3924640"/>
            <a:ext cx="7704137" cy="468000"/>
          </a:xfrm>
        </p:spPr>
        <p:txBody>
          <a:bodyPr/>
          <a:lstStyle>
            <a:lvl1pPr marL="144000" indent="-144000">
              <a:lnSpc>
                <a:spcPct val="90000"/>
              </a:lnSpc>
              <a:spcAft>
                <a:spcPts val="0"/>
              </a:spcAft>
              <a:buFont typeface="Avenir LT Std 45 Book" pitchFamily="34" charset="0"/>
              <a:buChar char="+"/>
              <a:defRPr sz="1500" b="0" cap="all" baseline="0">
                <a:solidFill>
                  <a:schemeClr val="tx1"/>
                </a:solidFill>
                <a:latin typeface="+mn-lt"/>
              </a:defRPr>
            </a:lvl1pPr>
            <a:lvl2pPr marL="144000">
              <a:lnSpc>
                <a:spcPct val="90000"/>
              </a:lnSpc>
              <a:spcAft>
                <a:spcPts val="0"/>
              </a:spcAft>
              <a:defRPr b="0">
                <a:latin typeface="Avenir LT Std 65 Medium" pitchFamily="34" charset="0"/>
              </a:defRPr>
            </a:lvl2pPr>
            <a:lvl3pPr indent="0">
              <a:spcAft>
                <a:spcPts val="0"/>
              </a:spcAft>
              <a:buNone/>
              <a:defRPr/>
            </a:lvl3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463990092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_typ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539751" y="486000"/>
            <a:ext cx="8064499" cy="464913"/>
          </a:xfrm>
        </p:spPr>
        <p:txBody>
          <a:bodyPr/>
          <a:lstStyle>
            <a:lvl1pPr>
              <a:defRPr b="0"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6E0BE47-59D6-4DB0-9689-74EE0CF3B304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rection Data &amp; IoT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3"/>
          </p:nvPr>
        </p:nvSpPr>
        <p:spPr bwMode="gray">
          <a:xfrm>
            <a:off x="539751" y="1276350"/>
            <a:ext cx="8064499" cy="3203575"/>
          </a:xfrm>
        </p:spPr>
        <p:txBody>
          <a:bodyPr/>
          <a:lstStyle>
            <a:lvl1pPr>
              <a:spcBef>
                <a:spcPts val="1400"/>
              </a:spcBef>
              <a:spcAft>
                <a:spcPts val="500"/>
              </a:spcAft>
              <a:defRPr sz="1500" b="0" cap="all" baseline="0">
                <a:latin typeface="Avenir LT Std 65 Medium" pitchFamily="34" charset="0"/>
              </a:defRPr>
            </a:lvl1pPr>
            <a:lvl2pPr>
              <a:lnSpc>
                <a:spcPct val="90000"/>
              </a:lnSpc>
              <a:spcAft>
                <a:spcPts val="0"/>
              </a:spcAft>
              <a:defRPr sz="1500" cap="all" baseline="0">
                <a:latin typeface="Avenir LT Std 55 Roman" pitchFamily="34" charset="0"/>
              </a:defRPr>
            </a:lvl2pPr>
            <a:lvl3pPr marL="0" indent="0">
              <a:lnSpc>
                <a:spcPct val="90000"/>
              </a:lnSpc>
              <a:spcAft>
                <a:spcPts val="0"/>
              </a:spcAft>
              <a:buNone/>
              <a:defRPr sz="1500" cap="all" baseline="0"/>
            </a:lvl3pPr>
            <a:lvl4pPr marL="0" indent="0">
              <a:lnSpc>
                <a:spcPct val="90000"/>
              </a:lnSpc>
              <a:spcAft>
                <a:spcPts val="0"/>
              </a:spcAft>
              <a:buNone/>
              <a:defRPr sz="1500" cap="all" baseline="0"/>
            </a:lvl4pPr>
            <a:lvl5pPr marL="0" indent="0">
              <a:lnSpc>
                <a:spcPct val="90000"/>
              </a:lnSpc>
              <a:spcAft>
                <a:spcPts val="0"/>
              </a:spcAft>
              <a:defRPr sz="1500" cap="all" baseline="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429188783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 bwMode="gray">
          <a:xfrm>
            <a:off x="179387" y="179388"/>
            <a:ext cx="8785225" cy="352901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23780AD-ACEB-47D0-9699-F3D7F200262B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rection Data &amp; IoT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267495"/>
            <a:ext cx="8064500" cy="1931604"/>
          </a:xfrm>
        </p:spPr>
        <p:txBody>
          <a:bodyPr anchor="b" anchorCtr="0"/>
          <a:lstStyle>
            <a:lvl1pPr>
              <a:lnSpc>
                <a:spcPct val="90000"/>
              </a:lnSpc>
              <a:spcAft>
                <a:spcPts val="0"/>
              </a:spcAft>
              <a:defRPr sz="5000" b="0" kern="1200" cap="all" baseline="0">
                <a:solidFill>
                  <a:schemeClr val="bg1"/>
                </a:solidFill>
                <a:latin typeface="Avenir LT Std 65 Medium" pitchFamily="34" charset="0"/>
              </a:defRPr>
            </a:lvl1pPr>
            <a:lvl2pPr>
              <a:lnSpc>
                <a:spcPct val="90000"/>
              </a:lnSpc>
              <a:spcAft>
                <a:spcPts val="0"/>
              </a:spcAft>
              <a:defRPr sz="3500" cap="all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4"/>
          </p:nvPr>
        </p:nvSpPr>
        <p:spPr bwMode="gray">
          <a:xfrm>
            <a:off x="539750" y="2344180"/>
            <a:ext cx="8064500" cy="1350000"/>
          </a:xfrm>
        </p:spPr>
        <p:txBody>
          <a:bodyPr/>
          <a:lstStyle>
            <a:lvl1pPr marL="180000" indent="-180000">
              <a:lnSpc>
                <a:spcPct val="90000"/>
              </a:lnSpc>
              <a:spcAft>
                <a:spcPts val="0"/>
              </a:spcAft>
              <a:buFont typeface="Arial" pitchFamily="34" charset="0"/>
              <a:buChar char="+"/>
              <a:defRPr sz="1600" b="0" cap="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8500949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us_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gray">
          <a:xfrm>
            <a:off x="179388" y="179388"/>
            <a:ext cx="8785225" cy="3529012"/>
          </a:xfrm>
          <a:prstGeom prst="rect">
            <a:avLst/>
          </a:prstGeom>
          <a:solidFill>
            <a:srgbClr val="D7D7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8FAD758-BA58-4B49-84F1-FE049B66E097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rection Data &amp; IoT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1669454"/>
            <a:ext cx="5762796" cy="230832"/>
          </a:xfrm>
          <a:solidFill>
            <a:schemeClr val="accent1"/>
          </a:solidFill>
        </p:spPr>
        <p:txBody>
          <a:bodyPr wrap="none" anchor="ctr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500" b="0" kern="1200" cap="all" baseline="0">
                <a:solidFill>
                  <a:schemeClr val="bg1"/>
                </a:solidFill>
                <a:latin typeface="Avenir LT Std 65 Medium" pitchFamily="34" charset="0"/>
              </a:defRPr>
            </a:lvl1pPr>
            <a:lvl2pPr>
              <a:lnSpc>
                <a:spcPct val="90000"/>
              </a:lnSpc>
              <a:defRPr sz="3500" cap="all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4"/>
          </p:nvPr>
        </p:nvSpPr>
        <p:spPr bwMode="gray">
          <a:xfrm>
            <a:off x="539750" y="1947070"/>
            <a:ext cx="8064500" cy="1350000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3500" b="0" cap="all" baseline="0">
                <a:solidFill>
                  <a:schemeClr val="accent1"/>
                </a:solidFill>
                <a:latin typeface="Avenir LT Std 65 Medium" pitchFamily="34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4" name="Espace réservé du texte 11"/>
          <p:cNvSpPr>
            <a:spLocks noGrp="1"/>
          </p:cNvSpPr>
          <p:nvPr>
            <p:ph type="body" sz="quarter" idx="15"/>
          </p:nvPr>
        </p:nvSpPr>
        <p:spPr bwMode="gray">
          <a:xfrm>
            <a:off x="539750" y="1438622"/>
            <a:ext cx="5762796" cy="230832"/>
          </a:xfrm>
          <a:solidFill>
            <a:schemeClr val="accent1"/>
          </a:solidFill>
        </p:spPr>
        <p:txBody>
          <a:bodyPr wrap="none" anchor="ctr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500" b="0" kern="1200" cap="all" baseline="0">
                <a:solidFill>
                  <a:schemeClr val="bg1"/>
                </a:solidFill>
                <a:latin typeface="Avenir LT Std 65 Medium" pitchFamily="34" charset="0"/>
              </a:defRPr>
            </a:lvl1pPr>
            <a:lvl2pPr>
              <a:lnSpc>
                <a:spcPct val="90000"/>
              </a:lnSpc>
              <a:defRPr sz="3500" cap="all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67365432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croche_visu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texte 14"/>
          <p:cNvSpPr>
            <a:spLocks noGrp="1"/>
          </p:cNvSpPr>
          <p:nvPr>
            <p:ph type="body" sz="quarter" idx="19"/>
          </p:nvPr>
        </p:nvSpPr>
        <p:spPr bwMode="gray">
          <a:xfrm>
            <a:off x="539750" y="633882"/>
            <a:ext cx="8064500" cy="3600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4500" b="0" cap="all" baseline="0">
                <a:latin typeface="+mj-lt"/>
              </a:defRPr>
            </a:lvl1pPr>
            <a:lvl2pPr>
              <a:lnSpc>
                <a:spcPct val="90000"/>
              </a:lnSpc>
              <a:spcBef>
                <a:spcPts val="1500"/>
              </a:spcBef>
              <a:spcAft>
                <a:spcPts val="0"/>
              </a:spcAft>
              <a:defRPr sz="1500" b="0" cap="all" baseline="0">
                <a:solidFill>
                  <a:srgbClr val="747678"/>
                </a:solidFill>
                <a:latin typeface="+mn-lt"/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2" name="Espace réservé pour une image  10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179388" y="179387"/>
            <a:ext cx="8785224" cy="4140000"/>
          </a:xfrm>
          <a:prstGeom prst="rect">
            <a:avLst/>
          </a:prstGeom>
          <a:solidFill>
            <a:srgbClr val="D7D7D7"/>
          </a:solidFill>
        </p:spPr>
        <p:txBody>
          <a:bodyPr lIns="720000" tIns="1260000" rIns="720000" anchor="ctr" anchorCtr="0"/>
          <a:lstStyle>
            <a:lvl1pPr algn="ctr">
              <a:defRPr sz="1300" b="0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fr-FR"/>
              <a:t>Sélectionner l’icône pour insérer une image (format 244 x 115 mm), puis disposer l’image en arrière plan (Sélectionner l’image avec le bouton droit de la souris / Mettre à l’arrière plan). Lorsque l’image est en arrière plan, le titre apparaît.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373CA02-F073-4F17-AD67-0EEB87F43039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rection Data &amp; IoT</a:t>
            </a:r>
          </a:p>
        </p:txBody>
      </p:sp>
    </p:spTree>
    <p:extLst>
      <p:ext uri="{BB962C8B-B14F-4D97-AF65-F5344CB8AC3E}">
        <p14:creationId xmlns:p14="http://schemas.microsoft.com/office/powerpoint/2010/main" val="23188807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ta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49" y="4813200"/>
            <a:ext cx="7669213" cy="162000"/>
          </a:xfrm>
          <a:prstGeom prst="rect">
            <a:avLst/>
          </a:prstGeom>
        </p:spPr>
        <p:txBody>
          <a:bodyPr/>
          <a:lstStyle/>
          <a:p>
            <a:fld id="{118588D4-E6F3-0B43-89CE-CD2FAABF52AF}" type="datetime2">
              <a:rPr lang="fr-FR" smtClean="0"/>
              <a:t>lundi 17 janvier 2022</a:t>
            </a:fld>
            <a:endParaRPr lang="fr-FR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>
          <a:xfrm>
            <a:off x="179387" y="4813200"/>
            <a:ext cx="360362" cy="162000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447675"/>
            <a:ext cx="8064500" cy="4032250"/>
          </a:xfrm>
          <a:prstGeom prst="rect">
            <a:avLst/>
          </a:prstGeom>
        </p:spPr>
        <p:txBody>
          <a:bodyPr anchor="ctr" anchorCtr="0"/>
          <a:lstStyle>
            <a:lvl1pPr marL="360000" indent="-360000">
              <a:lnSpc>
                <a:spcPct val="90000"/>
              </a:lnSpc>
              <a:spcBef>
                <a:spcPts val="3200"/>
              </a:spcBef>
              <a:buFont typeface="Avenir LT Std 65 Medium" pitchFamily="34" charset="0"/>
              <a:buChar char="+"/>
              <a:defRPr sz="2800" b="0" cap="all" baseline="0"/>
            </a:lvl1pPr>
            <a:lvl2pPr marL="360000">
              <a:lnSpc>
                <a:spcPct val="90000"/>
              </a:lnSpc>
              <a:spcAft>
                <a:spcPts val="0"/>
              </a:spcAft>
              <a:defRPr sz="1500" cap="all" baseline="0">
                <a:latin typeface="+mn-lt"/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791021283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croche_visuel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PPT_Packshot_244x130,5_01.jpg"/>
          <p:cNvPicPr preferRelativeResize="0">
            <a:picLocks/>
          </p:cNvPicPr>
          <p:nvPr userDrawn="1"/>
        </p:nvPicPr>
        <p:blipFill>
          <a:blip r:embed="rId2" cstate="print"/>
          <a:stretch>
            <a:fillRect/>
          </a:stretch>
        </p:blipFill>
        <p:spPr bwMode="gray">
          <a:xfrm>
            <a:off x="179388" y="180308"/>
            <a:ext cx="8782157" cy="4138157"/>
          </a:xfrm>
          <a:prstGeom prst="rect">
            <a:avLst/>
          </a:prstGeom>
        </p:spPr>
      </p:pic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2A3871A-F2B3-45B2-BA1D-FBCBDA67EA4A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rection Data &amp; IoT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9"/>
          </p:nvPr>
        </p:nvSpPr>
        <p:spPr bwMode="gray">
          <a:xfrm>
            <a:off x="539750" y="633883"/>
            <a:ext cx="8064500" cy="3600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4500" b="0" cap="all" baseline="0">
                <a:latin typeface="+mj-lt"/>
              </a:defRPr>
            </a:lvl1pPr>
            <a:lvl2pPr>
              <a:lnSpc>
                <a:spcPct val="90000"/>
              </a:lnSpc>
              <a:spcBef>
                <a:spcPts val="1500"/>
              </a:spcBef>
              <a:spcAft>
                <a:spcPts val="0"/>
              </a:spcAft>
              <a:defRPr sz="1500" cap="all" baseline="0">
                <a:solidFill>
                  <a:srgbClr val="747678"/>
                </a:solidFill>
                <a:latin typeface="+mn-lt"/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71715828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croche_visuel_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PPT_Packshot_244x130,5_01.jpg"/>
          <p:cNvPicPr preferRelativeResize="0">
            <a:picLocks/>
          </p:cNvPicPr>
          <p:nvPr userDrawn="1"/>
        </p:nvPicPr>
        <p:blipFill>
          <a:blip r:embed="rId2" cstate="print"/>
          <a:stretch>
            <a:fillRect/>
          </a:stretch>
        </p:blipFill>
        <p:spPr bwMode="gray">
          <a:xfrm>
            <a:off x="179388" y="180308"/>
            <a:ext cx="8782156" cy="4138157"/>
          </a:xfrm>
          <a:prstGeom prst="rect">
            <a:avLst/>
          </a:prstGeom>
        </p:spPr>
      </p:pic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2959028-92E7-4B0C-8258-B4FF11A1E359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rection Data &amp; IoT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9"/>
          </p:nvPr>
        </p:nvSpPr>
        <p:spPr bwMode="gray">
          <a:xfrm>
            <a:off x="539750" y="633883"/>
            <a:ext cx="8064500" cy="3600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4500" b="0" cap="all" baseline="0">
                <a:latin typeface="+mj-lt"/>
              </a:defRPr>
            </a:lvl1pPr>
            <a:lvl2pPr>
              <a:lnSpc>
                <a:spcPct val="90000"/>
              </a:lnSpc>
              <a:spcBef>
                <a:spcPts val="1500"/>
              </a:spcBef>
              <a:spcAft>
                <a:spcPts val="0"/>
              </a:spcAft>
              <a:defRPr sz="1500" cap="all" baseline="0">
                <a:solidFill>
                  <a:srgbClr val="747678"/>
                </a:solidFill>
                <a:latin typeface="+mn-lt"/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40577655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_2_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1" y="1743074"/>
            <a:ext cx="3960000" cy="2736851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C79F2B1-5C36-4630-A7D3-5DC9CBADFFF7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rection Data &amp; IoT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950913"/>
            <a:ext cx="80645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2" name="Espace réservé du contenu 2"/>
          <p:cNvSpPr>
            <a:spLocks noGrp="1"/>
          </p:cNvSpPr>
          <p:nvPr>
            <p:ph idx="19" hasCustomPrompt="1"/>
          </p:nvPr>
        </p:nvSpPr>
        <p:spPr bwMode="gray">
          <a:xfrm>
            <a:off x="4644250" y="1743074"/>
            <a:ext cx="3960000" cy="2736851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</p:spTree>
    <p:extLst>
      <p:ext uri="{BB962C8B-B14F-4D97-AF65-F5344CB8AC3E}">
        <p14:creationId xmlns:p14="http://schemas.microsoft.com/office/powerpoint/2010/main" val="1029415760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1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1" y="1743074"/>
            <a:ext cx="3960000" cy="2736851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F0C9DE2-91E8-4C73-9207-28BBCE03B145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rection Data &amp; IoT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950913"/>
            <a:ext cx="80645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1" name="Espace réservé pour une image  10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644250" y="1779588"/>
            <a:ext cx="3960000" cy="2520950"/>
          </a:xfrm>
          <a:prstGeom prst="rect">
            <a:avLst/>
          </a:prstGeom>
          <a:solidFill>
            <a:srgbClr val="D7D7D7"/>
          </a:solidFill>
        </p:spPr>
        <p:txBody>
          <a:bodyPr lIns="360000" tIns="1728000" rIns="360000" anchor="ctr" anchorCtr="0"/>
          <a:lstStyle>
            <a:lvl1pPr algn="ctr">
              <a:defRPr sz="1300" b="0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fr-FR"/>
              <a:t>Sélectionner l’icône pour insérer une image (format 110 x 70 mm)</a:t>
            </a:r>
          </a:p>
        </p:txBody>
      </p:sp>
    </p:spTree>
    <p:extLst>
      <p:ext uri="{BB962C8B-B14F-4D97-AF65-F5344CB8AC3E}">
        <p14:creationId xmlns:p14="http://schemas.microsoft.com/office/powerpoint/2010/main" val="2857783919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1" y="1743075"/>
            <a:ext cx="8064499" cy="1665768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ACDE48C-C7AC-454C-91D0-08134C313914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rection Data &amp; IoT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950913"/>
            <a:ext cx="80645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tabLst/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1" name="Espace réservé du texte 13"/>
          <p:cNvSpPr>
            <a:spLocks noGrp="1"/>
          </p:cNvSpPr>
          <p:nvPr>
            <p:ph type="body" sz="quarter" idx="14"/>
          </p:nvPr>
        </p:nvSpPr>
        <p:spPr bwMode="gray">
          <a:xfrm>
            <a:off x="539750" y="3531246"/>
            <a:ext cx="4824000" cy="515901"/>
          </a:xfrm>
          <a:solidFill>
            <a:srgbClr val="D7D7D7"/>
          </a:solidFill>
          <a:ln w="82550">
            <a:solidFill>
              <a:srgbClr val="D7D7D7"/>
            </a:solidFill>
            <a:miter lim="800000"/>
          </a:ln>
        </p:spPr>
        <p:txBody>
          <a:bodyPr tIns="36000" bIns="36000">
            <a:sp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1600" b="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256106529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1" y="1743074"/>
            <a:ext cx="3960000" cy="2736851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AF0EEB0-8016-4591-BD0A-0BFDA0DC4D62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rection Data &amp; IoT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950913"/>
            <a:ext cx="80645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tabLst/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Espace réservé du graphique 14"/>
          <p:cNvSpPr>
            <a:spLocks noGrp="1"/>
          </p:cNvSpPr>
          <p:nvPr>
            <p:ph type="chart" sz="quarter" idx="14" hasCustomPrompt="1"/>
          </p:nvPr>
        </p:nvSpPr>
        <p:spPr bwMode="gray">
          <a:xfrm>
            <a:off x="4644250" y="1779588"/>
            <a:ext cx="3960000" cy="2700337"/>
          </a:xfrm>
        </p:spPr>
        <p:txBody>
          <a:bodyPr tIns="720000" anchor="ctr" anchorCtr="0"/>
          <a:lstStyle>
            <a:lvl1pPr algn="ctr">
              <a:defRPr b="0" cap="all" baseline="0">
                <a:latin typeface="+mn-lt"/>
              </a:defRPr>
            </a:lvl1pPr>
          </a:lstStyle>
          <a:p>
            <a:r>
              <a:rPr lang="fr-FR"/>
              <a:t>GRAPHIQUE</a:t>
            </a:r>
          </a:p>
        </p:txBody>
      </p:sp>
    </p:spTree>
    <p:extLst>
      <p:ext uri="{BB962C8B-B14F-4D97-AF65-F5344CB8AC3E}">
        <p14:creationId xmlns:p14="http://schemas.microsoft.com/office/powerpoint/2010/main" val="1783168540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_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544A040-EB2D-4727-BF0D-1D17D7ACDC1F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rection Data &amp; IoT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950913"/>
            <a:ext cx="80645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Espace réservé du graphique 14"/>
          <p:cNvSpPr>
            <a:spLocks noGrp="1"/>
          </p:cNvSpPr>
          <p:nvPr>
            <p:ph type="chart" sz="quarter" idx="14" hasCustomPrompt="1"/>
          </p:nvPr>
        </p:nvSpPr>
        <p:spPr bwMode="gray">
          <a:xfrm>
            <a:off x="539750" y="1779588"/>
            <a:ext cx="8064500" cy="2700337"/>
          </a:xfrm>
        </p:spPr>
        <p:txBody>
          <a:bodyPr tIns="720000" anchor="ctr" anchorCtr="0"/>
          <a:lstStyle>
            <a:lvl1pPr algn="ctr">
              <a:defRPr b="0" cap="all" baseline="0">
                <a:latin typeface="+mn-lt"/>
              </a:defRPr>
            </a:lvl1pPr>
          </a:lstStyle>
          <a:p>
            <a:r>
              <a:rPr lang="fr-FR"/>
              <a:t>GRAPHIQUE</a:t>
            </a:r>
          </a:p>
        </p:txBody>
      </p:sp>
    </p:spTree>
    <p:extLst>
      <p:ext uri="{BB962C8B-B14F-4D97-AF65-F5344CB8AC3E}">
        <p14:creationId xmlns:p14="http://schemas.microsoft.com/office/powerpoint/2010/main" val="2950684320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_graphique_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graphique 14"/>
          <p:cNvSpPr>
            <a:spLocks noGrp="1"/>
          </p:cNvSpPr>
          <p:nvPr>
            <p:ph type="chart" sz="quarter" idx="14" hasCustomPrompt="1"/>
          </p:nvPr>
        </p:nvSpPr>
        <p:spPr bwMode="gray">
          <a:xfrm>
            <a:off x="539750" y="1779588"/>
            <a:ext cx="8064500" cy="2700337"/>
          </a:xfrm>
        </p:spPr>
        <p:txBody>
          <a:bodyPr tIns="720000" anchor="ctr" anchorCtr="0"/>
          <a:lstStyle>
            <a:lvl1pPr algn="ctr">
              <a:defRPr b="0" cap="all" baseline="0">
                <a:latin typeface="+mn-lt"/>
              </a:defRPr>
            </a:lvl1pPr>
          </a:lstStyle>
          <a:p>
            <a:r>
              <a:rPr lang="fr-FR"/>
              <a:t>GRAPHIQU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2371E0C-6530-4AD1-97E8-B70C4598E0B9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rection Data &amp; IoT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950913"/>
            <a:ext cx="80645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5"/>
          </p:nvPr>
        </p:nvSpPr>
        <p:spPr bwMode="gray">
          <a:xfrm>
            <a:off x="5652120" y="1743075"/>
            <a:ext cx="2952131" cy="190857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666121963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_tableau_typ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8652E5A-9AB2-4ACE-9A14-DCDF7B5C2B57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rection Data &amp; IoT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950913"/>
            <a:ext cx="80645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du tableau 12"/>
          <p:cNvSpPr>
            <a:spLocks noGrp="1"/>
          </p:cNvSpPr>
          <p:nvPr>
            <p:ph type="tbl" sz="quarter" idx="14"/>
          </p:nvPr>
        </p:nvSpPr>
        <p:spPr bwMode="gray">
          <a:xfrm>
            <a:off x="539751" y="1779588"/>
            <a:ext cx="8064499" cy="2340000"/>
          </a:xfrm>
        </p:spPr>
        <p:txBody>
          <a:bodyPr tIns="720000" anchor="ctr" anchorCtr="0"/>
          <a:lstStyle>
            <a:lvl1pPr algn="ctr">
              <a:spcAft>
                <a:spcPts val="0"/>
              </a:spcAft>
              <a:defRPr b="0" cap="all" baseline="0"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987674" y="4146620"/>
            <a:ext cx="900000" cy="216000"/>
          </a:xfr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8" name="Espace réservé du texte 16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807804" y="4209318"/>
            <a:ext cx="93600" cy="93600"/>
          </a:xfrm>
          <a:prstGeom prst="ellipse">
            <a:avLst/>
          </a:prstGeom>
          <a:solidFill>
            <a:schemeClr val="accent1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9" name="Espace réservé du texte 16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166818" y="4146620"/>
            <a:ext cx="900000" cy="216000"/>
          </a:xfr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0" name="Espace réservé du texte 1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986948" y="4209318"/>
            <a:ext cx="93600" cy="93600"/>
          </a:xfrm>
          <a:prstGeom prst="ellipse">
            <a:avLst/>
          </a:prstGeom>
          <a:solidFill>
            <a:schemeClr val="accent2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1" name="Espace réservé du texte 16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345962" y="4146620"/>
            <a:ext cx="900000" cy="216000"/>
          </a:xfr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2" name="Espace réservé du texte 1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166092" y="4209318"/>
            <a:ext cx="93600" cy="93600"/>
          </a:xfrm>
          <a:prstGeom prst="ellipse">
            <a:avLst/>
          </a:prstGeom>
          <a:solidFill>
            <a:schemeClr val="accent4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3" name="Espace réservé du texte 16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525106" y="4146620"/>
            <a:ext cx="900000" cy="216000"/>
          </a:xfr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4" name="Espace réservé du texte 16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345236" y="4209318"/>
            <a:ext cx="93600" cy="93600"/>
          </a:xfrm>
          <a:prstGeom prst="ellipse">
            <a:avLst/>
          </a:prstGeom>
          <a:solidFill>
            <a:schemeClr val="accent5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5" name="Espace réservé du texte 16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704250" y="4146620"/>
            <a:ext cx="900000" cy="216000"/>
          </a:xfr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6" name="Espace réservé du texte 16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7524380" y="4209318"/>
            <a:ext cx="93600" cy="93600"/>
          </a:xfrm>
          <a:prstGeom prst="ellipse">
            <a:avLst/>
          </a:prstGeom>
          <a:solidFill>
            <a:schemeClr val="bg2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9710864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_tableau_typ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6042D48-A64B-4767-B7D1-1DA3AC3460F9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rection Data &amp; IoT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950913"/>
            <a:ext cx="80645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tabLst/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du tableau 12"/>
          <p:cNvSpPr>
            <a:spLocks noGrp="1"/>
          </p:cNvSpPr>
          <p:nvPr>
            <p:ph type="tbl" sz="quarter" idx="14"/>
          </p:nvPr>
        </p:nvSpPr>
        <p:spPr bwMode="gray">
          <a:xfrm>
            <a:off x="539750" y="1779588"/>
            <a:ext cx="8064499" cy="2160000"/>
          </a:xfrm>
        </p:spPr>
        <p:txBody>
          <a:bodyPr tIns="720000" anchor="ctr" anchorCtr="0"/>
          <a:lstStyle>
            <a:lvl1pPr algn="ctr">
              <a:spcAft>
                <a:spcPts val="0"/>
              </a:spcAft>
              <a:defRPr b="0" cap="all" baseline="0"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987674" y="4148070"/>
            <a:ext cx="900000" cy="216000"/>
          </a:xfr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8" name="Espace réservé du texte 16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807804" y="4209318"/>
            <a:ext cx="93600" cy="93600"/>
          </a:xfrm>
          <a:prstGeom prst="ellipse">
            <a:avLst/>
          </a:prstGeom>
          <a:solidFill>
            <a:schemeClr val="accent6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9" name="Espace réservé du texte 16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166818" y="4148070"/>
            <a:ext cx="900000" cy="216000"/>
          </a:xfr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0" name="Espace réservé du texte 1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986948" y="4209318"/>
            <a:ext cx="93600" cy="93600"/>
          </a:xfrm>
          <a:prstGeom prst="ellipse">
            <a:avLst/>
          </a:prstGeom>
          <a:solidFill>
            <a:schemeClr val="accent2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1" name="Espace réservé du texte 16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345962" y="4148070"/>
            <a:ext cx="900000" cy="216000"/>
          </a:xfr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2" name="Espace réservé du texte 1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166092" y="4209318"/>
            <a:ext cx="93600" cy="93600"/>
          </a:xfrm>
          <a:prstGeom prst="ellipse">
            <a:avLst/>
          </a:prstGeom>
          <a:solidFill>
            <a:schemeClr val="accent4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3" name="Espace réservé du texte 16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525106" y="4148070"/>
            <a:ext cx="900000" cy="216000"/>
          </a:xfr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4" name="Espace réservé du texte 16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345236" y="4209318"/>
            <a:ext cx="93600" cy="93600"/>
          </a:xfrm>
          <a:prstGeom prst="ellipse">
            <a:avLst/>
          </a:prstGeom>
          <a:solidFill>
            <a:schemeClr val="accent5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5" name="Espace réservé du texte 16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704250" y="4148070"/>
            <a:ext cx="900000" cy="216000"/>
          </a:xfr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6" name="Espace réservé du texte 16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7524380" y="4209318"/>
            <a:ext cx="93600" cy="93600"/>
          </a:xfrm>
          <a:prstGeom prst="ellipse">
            <a:avLst/>
          </a:prstGeom>
          <a:solidFill>
            <a:schemeClr val="bg2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436212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mmaire_typ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539751" y="486000"/>
            <a:ext cx="8064499" cy="464913"/>
          </a:xfrm>
        </p:spPr>
        <p:txBody>
          <a:bodyPr/>
          <a:lstStyle>
            <a:lvl1pPr>
              <a:defRPr b="0"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6E0BE47-59D6-4DB0-9689-74EE0CF3B304}" type="datetime2">
              <a:rPr lang="fr-FR" smtClean="0"/>
              <a:t>lundi 17 janvier 2022</a:t>
            </a:fld>
            <a:endParaRPr lang="fr-FR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>
          <a:xfrm>
            <a:off x="179387" y="4813200"/>
            <a:ext cx="360362" cy="162000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179388" y="4659313"/>
            <a:ext cx="8029575" cy="162018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fr-FR"/>
              <a:t>Direction Data &amp; IoT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3"/>
          </p:nvPr>
        </p:nvSpPr>
        <p:spPr bwMode="gray">
          <a:xfrm>
            <a:off x="539751" y="1276350"/>
            <a:ext cx="8064499" cy="3203575"/>
          </a:xfrm>
        </p:spPr>
        <p:txBody>
          <a:bodyPr/>
          <a:lstStyle>
            <a:lvl1pPr>
              <a:spcBef>
                <a:spcPts val="1400"/>
              </a:spcBef>
              <a:spcAft>
                <a:spcPts val="500"/>
              </a:spcAft>
              <a:defRPr sz="1500" b="0" cap="all" baseline="0">
                <a:latin typeface="Avenir LT Std 65 Medium" pitchFamily="34" charset="0"/>
              </a:defRPr>
            </a:lvl1pPr>
            <a:lvl2pPr>
              <a:lnSpc>
                <a:spcPct val="90000"/>
              </a:lnSpc>
              <a:spcAft>
                <a:spcPts val="0"/>
              </a:spcAft>
              <a:defRPr sz="1500" cap="all" baseline="0">
                <a:latin typeface="Avenir LT Std 55 Roman" pitchFamily="34" charset="0"/>
              </a:defRPr>
            </a:lvl2pPr>
            <a:lvl3pPr marL="0" indent="0">
              <a:lnSpc>
                <a:spcPct val="90000"/>
              </a:lnSpc>
              <a:spcAft>
                <a:spcPts val="0"/>
              </a:spcAft>
              <a:buNone/>
              <a:defRPr sz="1500" cap="all" baseline="0"/>
            </a:lvl3pPr>
            <a:lvl4pPr marL="0" indent="0">
              <a:lnSpc>
                <a:spcPct val="90000"/>
              </a:lnSpc>
              <a:spcAft>
                <a:spcPts val="0"/>
              </a:spcAft>
              <a:buNone/>
              <a:defRPr sz="1500" cap="all" baseline="0"/>
            </a:lvl4pPr>
            <a:lvl5pPr marL="0" indent="0">
              <a:lnSpc>
                <a:spcPct val="90000"/>
              </a:lnSpc>
              <a:spcAft>
                <a:spcPts val="0"/>
              </a:spcAft>
              <a:defRPr sz="1500" cap="all" baseline="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4271756738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&amp;_cartouche_dro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1" y="1743075"/>
            <a:ext cx="3960000" cy="273685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858300A-FD73-47F2-8D73-15783019F2B7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rection Data &amp; IoT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950913"/>
            <a:ext cx="80645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/>
          </p:nvPr>
        </p:nvSpPr>
        <p:spPr bwMode="gray">
          <a:xfrm>
            <a:off x="4644250" y="1779588"/>
            <a:ext cx="3960000" cy="486000"/>
          </a:xfrm>
          <a:solidFill>
            <a:schemeClr val="accent1"/>
          </a:solidFill>
        </p:spPr>
        <p:txBody>
          <a:bodyPr lIns="288000" tIns="18000" rIns="72000" bIns="0" anchor="ctr" anchorCtr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b="0" cap="all" baseline="0">
                <a:solidFill>
                  <a:schemeClr val="bg1"/>
                </a:solidFill>
                <a:latin typeface="Avenir LT Std 65 Medium" pitchFamily="34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du texte 11"/>
          <p:cNvSpPr>
            <a:spLocks noGrp="1"/>
          </p:cNvSpPr>
          <p:nvPr>
            <p:ph type="body" sz="quarter" idx="15"/>
          </p:nvPr>
        </p:nvSpPr>
        <p:spPr bwMode="gray">
          <a:xfrm>
            <a:off x="4644250" y="2355726"/>
            <a:ext cx="3960000" cy="1944812"/>
          </a:xfrm>
          <a:solidFill>
            <a:schemeClr val="accent1"/>
          </a:solidFill>
        </p:spPr>
        <p:txBody>
          <a:bodyPr wrap="square" lIns="144000" tIns="72000" rIns="72000" bIns="72000" anchor="t" anchorCtr="0">
            <a:noAutofit/>
          </a:bodyPr>
          <a:lstStyle>
            <a:lvl1pPr marL="144000" indent="-144000">
              <a:buFont typeface="Avenir LT Std 45 Book" pitchFamily="34" charset="0"/>
              <a:buChar char="+"/>
              <a:defRPr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654868329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&amp;_cartouche_gau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4824250" y="1156814"/>
            <a:ext cx="3780000" cy="3323111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082F0B2-476F-4252-9C42-62748A3AFD3E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rection Data &amp; IoT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/>
          </p:nvPr>
        </p:nvSpPr>
        <p:spPr bwMode="gray">
          <a:xfrm>
            <a:off x="539750" y="519522"/>
            <a:ext cx="3780000" cy="3781016"/>
          </a:xfrm>
          <a:solidFill>
            <a:schemeClr val="accent1"/>
          </a:solidFill>
        </p:spPr>
        <p:txBody>
          <a:bodyPr lIns="288000" tIns="630000" rIns="72000" bIns="108000" anchor="t" anchorCtr="0">
            <a:noAutofit/>
          </a:bodyPr>
          <a:lstStyle>
            <a:lvl1pPr marL="216000" indent="-216000">
              <a:lnSpc>
                <a:spcPct val="90000"/>
              </a:lnSpc>
              <a:spcAft>
                <a:spcPts val="0"/>
              </a:spcAft>
              <a:buFont typeface="Avenir LT Std 65 Medium" pitchFamily="34" charset="0"/>
              <a:buChar char="+"/>
              <a:defRPr sz="2200" b="0" cap="all" baseline="0">
                <a:solidFill>
                  <a:schemeClr val="bg1"/>
                </a:solidFill>
                <a:latin typeface="Avenir LT Std 65 Medium" pitchFamily="34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729519686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_&amp;_2_cartouch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138DB08-60B9-42DF-92B6-BA98C02ECA55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rection Data &amp; IoT</a:t>
            </a:r>
          </a:p>
        </p:txBody>
      </p:sp>
      <p:sp>
        <p:nvSpPr>
          <p:cNvPr id="13" name="Espace réservé du texte 11"/>
          <p:cNvSpPr>
            <a:spLocks noGrp="1"/>
          </p:cNvSpPr>
          <p:nvPr>
            <p:ph type="body" sz="quarter" idx="15"/>
          </p:nvPr>
        </p:nvSpPr>
        <p:spPr bwMode="gray">
          <a:xfrm>
            <a:off x="4824250" y="519113"/>
            <a:ext cx="3780000" cy="3781425"/>
          </a:xfrm>
          <a:noFill/>
        </p:spPr>
        <p:txBody>
          <a:bodyPr lIns="0" tIns="36000" rIns="0" bIns="0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2200" b="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930339" y="2049826"/>
            <a:ext cx="720000" cy="720000"/>
          </a:xfrm>
          <a:prstGeom prst="diamond">
            <a:avLst/>
          </a:prstGeom>
          <a:solidFill>
            <a:schemeClr val="accent1"/>
          </a:solidFill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100" b="0" cap="all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/>
          </p:nvPr>
        </p:nvSpPr>
        <p:spPr bwMode="gray">
          <a:xfrm>
            <a:off x="539750" y="519114"/>
            <a:ext cx="3780000" cy="3781424"/>
          </a:xfrm>
          <a:solidFill>
            <a:schemeClr val="accent1"/>
          </a:solidFill>
        </p:spPr>
        <p:txBody>
          <a:bodyPr lIns="288000" tIns="144000" rIns="72000" bIns="108000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22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562766964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artouches_petites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9750" y="2427453"/>
            <a:ext cx="2520082" cy="1873085"/>
          </a:xfrm>
          <a:solidFill>
            <a:srgbClr val="D7D7D7"/>
          </a:solidFill>
        </p:spPr>
        <p:txBody>
          <a:bodyPr lIns="144000" tIns="1008000" rIns="72000" bIns="36000" anchor="t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1200" b="0" cap="all" baseline="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8F1D7E9-179C-49E7-ABDC-A6052A8C617D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rection Data &amp; IoT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950913"/>
            <a:ext cx="80645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39750" y="1779588"/>
            <a:ext cx="2520082" cy="648000"/>
          </a:xfrm>
          <a:solidFill>
            <a:schemeClr val="accent1"/>
          </a:solidFill>
        </p:spPr>
        <p:txBody>
          <a:bodyPr lIns="144000" tIns="72000" rIns="72000" bIns="36000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0. titre</a:t>
            </a:r>
          </a:p>
        </p:txBody>
      </p:sp>
      <p:sp>
        <p:nvSpPr>
          <p:cNvPr id="17" name="Espace réservé pour une image  10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83568" y="2499833"/>
            <a:ext cx="828000" cy="828000"/>
          </a:xfrm>
          <a:prstGeom prst="rect">
            <a:avLst/>
          </a:prstGeom>
          <a:noFill/>
        </p:spPr>
        <p:txBody>
          <a:bodyPr lIns="0" tIns="0" rIns="0" anchor="ctr" anchorCtr="0"/>
          <a:lstStyle>
            <a:lvl1pPr algn="ctr">
              <a:defRPr sz="800" b="0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fr-FR"/>
              <a:t>Sélectionner l’icône pour insérer une image (format 23 x 23 mm)</a:t>
            </a:r>
          </a:p>
        </p:txBody>
      </p:sp>
      <p:sp>
        <p:nvSpPr>
          <p:cNvPr id="18" name="Espace réservé du texte 11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311959" y="2427454"/>
            <a:ext cx="2520082" cy="1873085"/>
          </a:xfrm>
          <a:solidFill>
            <a:srgbClr val="D7D7D7"/>
          </a:solidFill>
        </p:spPr>
        <p:txBody>
          <a:bodyPr lIns="144000" tIns="1008000" rIns="72000" bIns="36000" anchor="t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1200" b="0" cap="all" baseline="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9" name="Espace réservé du texte 11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311959" y="1779589"/>
            <a:ext cx="2520082" cy="648000"/>
          </a:xfrm>
          <a:solidFill>
            <a:schemeClr val="accent1"/>
          </a:solidFill>
        </p:spPr>
        <p:txBody>
          <a:bodyPr lIns="144000" tIns="72000" rIns="72000" bIns="36000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0. titre</a:t>
            </a:r>
          </a:p>
        </p:txBody>
      </p:sp>
      <p:sp>
        <p:nvSpPr>
          <p:cNvPr id="20" name="Espace réservé pour une image  10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3455777" y="2499834"/>
            <a:ext cx="828000" cy="828000"/>
          </a:xfrm>
          <a:prstGeom prst="rect">
            <a:avLst/>
          </a:prstGeom>
          <a:noFill/>
        </p:spPr>
        <p:txBody>
          <a:bodyPr lIns="0" tIns="0" rIns="0" anchor="ctr" anchorCtr="0"/>
          <a:lstStyle>
            <a:lvl1pPr algn="ctr">
              <a:defRPr sz="800" b="0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fr-FR"/>
              <a:t>Sélectionner l’icône pour insérer une image (format 23 x 23 mm)</a:t>
            </a:r>
          </a:p>
        </p:txBody>
      </p:sp>
      <p:sp>
        <p:nvSpPr>
          <p:cNvPr id="21" name="Espace réservé du texte 11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084168" y="2427454"/>
            <a:ext cx="2520082" cy="1873085"/>
          </a:xfrm>
          <a:solidFill>
            <a:schemeClr val="accent1"/>
          </a:solidFill>
        </p:spPr>
        <p:txBody>
          <a:bodyPr lIns="144000" tIns="1008000" rIns="72000" bIns="36000" anchor="t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1200" b="0" cap="all" baseline="0">
                <a:solidFill>
                  <a:schemeClr val="bg1"/>
                </a:solidFill>
                <a:latin typeface="Avenir LT Std 35 Light" pitchFamily="34" charset="0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2" name="Espace réservé du texte 11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084168" y="1779589"/>
            <a:ext cx="2520082" cy="648000"/>
          </a:xfrm>
          <a:solidFill>
            <a:schemeClr val="accent1"/>
          </a:solidFill>
        </p:spPr>
        <p:txBody>
          <a:bodyPr lIns="144000" tIns="72000" rIns="72000" bIns="36000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0. titre</a:t>
            </a:r>
          </a:p>
        </p:txBody>
      </p:sp>
      <p:sp>
        <p:nvSpPr>
          <p:cNvPr id="23" name="Espace réservé pour une image  10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6227986" y="2499834"/>
            <a:ext cx="828000" cy="828000"/>
          </a:xfrm>
          <a:prstGeom prst="rect">
            <a:avLst/>
          </a:prstGeom>
          <a:noFill/>
        </p:spPr>
        <p:txBody>
          <a:bodyPr lIns="0" tIns="0" rIns="0" anchor="ctr" anchorCtr="0"/>
          <a:lstStyle>
            <a:lvl1pPr algn="ctr">
              <a:defRPr sz="800" b="0" cap="all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/>
              <a:t>Sélectionner l’icône pour insérer une image (format 23 x 23 mm)</a:t>
            </a:r>
          </a:p>
        </p:txBody>
      </p:sp>
    </p:spTree>
    <p:extLst>
      <p:ext uri="{BB962C8B-B14F-4D97-AF65-F5344CB8AC3E}">
        <p14:creationId xmlns:p14="http://schemas.microsoft.com/office/powerpoint/2010/main" val="1660996586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artouches_grandes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7CEA9EC-3E2E-4A37-B3CB-FF912BFFE036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rection Data &amp; IoT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950913"/>
            <a:ext cx="80645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39750" y="1779588"/>
            <a:ext cx="2520082" cy="648000"/>
          </a:xfrm>
          <a:solidFill>
            <a:schemeClr val="accent1"/>
          </a:solidFill>
        </p:spPr>
        <p:txBody>
          <a:bodyPr lIns="144000" tIns="72000" rIns="72000" bIns="36000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0. titre</a:t>
            </a:r>
          </a:p>
        </p:txBody>
      </p:sp>
      <p:sp>
        <p:nvSpPr>
          <p:cNvPr id="17" name="Espace réservé pour une image  10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539832" y="2427589"/>
            <a:ext cx="2520000" cy="1872950"/>
          </a:xfrm>
          <a:prstGeom prst="rect">
            <a:avLst/>
          </a:prstGeom>
          <a:solidFill>
            <a:srgbClr val="D7D7D7"/>
          </a:solidFill>
        </p:spPr>
        <p:txBody>
          <a:bodyPr lIns="36000" tIns="972000" rIns="36000" anchor="ctr" anchorCtr="0"/>
          <a:lstStyle>
            <a:lvl1pPr algn="ctr">
              <a:defRPr sz="1300" b="0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fr-FR"/>
              <a:t>Sélectionner l’icône pour insérer une image format ( 70 x 52 mm)</a:t>
            </a:r>
          </a:p>
        </p:txBody>
      </p:sp>
      <p:sp>
        <p:nvSpPr>
          <p:cNvPr id="25" name="Espace réservé du texte 11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311959" y="1779588"/>
            <a:ext cx="2520082" cy="648000"/>
          </a:xfrm>
          <a:solidFill>
            <a:schemeClr val="accent1"/>
          </a:solidFill>
        </p:spPr>
        <p:txBody>
          <a:bodyPr lIns="144000" tIns="72000" rIns="72000" bIns="36000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0. titre</a:t>
            </a:r>
          </a:p>
        </p:txBody>
      </p:sp>
      <p:sp>
        <p:nvSpPr>
          <p:cNvPr id="26" name="Espace réservé pour une image  10"/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3312041" y="2427589"/>
            <a:ext cx="2520000" cy="1872950"/>
          </a:xfrm>
          <a:prstGeom prst="rect">
            <a:avLst/>
          </a:prstGeom>
          <a:solidFill>
            <a:srgbClr val="D7D7D7"/>
          </a:solidFill>
        </p:spPr>
        <p:txBody>
          <a:bodyPr lIns="36000" tIns="972000" rIns="36000" anchor="ctr" anchorCtr="0"/>
          <a:lstStyle>
            <a:lvl1pPr algn="ctr">
              <a:defRPr sz="1300" b="0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fr-FR"/>
              <a:t>Sélectionner l’icône pour insérer une image format ( 70 x 52 mm)</a:t>
            </a:r>
          </a:p>
        </p:txBody>
      </p:sp>
      <p:sp>
        <p:nvSpPr>
          <p:cNvPr id="27" name="Espace réservé du texte 11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084168" y="1779588"/>
            <a:ext cx="2520082" cy="648000"/>
          </a:xfrm>
          <a:solidFill>
            <a:schemeClr val="accent1"/>
          </a:solidFill>
        </p:spPr>
        <p:txBody>
          <a:bodyPr lIns="144000" tIns="72000" rIns="72000" bIns="36000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0. titre</a:t>
            </a:r>
          </a:p>
        </p:txBody>
      </p:sp>
      <p:sp>
        <p:nvSpPr>
          <p:cNvPr id="28" name="Espace réservé pour une image  10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6084250" y="2427589"/>
            <a:ext cx="2520000" cy="1872950"/>
          </a:xfrm>
          <a:prstGeom prst="rect">
            <a:avLst/>
          </a:prstGeom>
          <a:solidFill>
            <a:srgbClr val="D7D7D7"/>
          </a:solidFill>
        </p:spPr>
        <p:txBody>
          <a:bodyPr lIns="36000" tIns="972000" rIns="36000" anchor="ctr" anchorCtr="0"/>
          <a:lstStyle>
            <a:lvl1pPr algn="ctr">
              <a:defRPr sz="1300" b="0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fr-FR"/>
              <a:t>Sélectionner l’icône pour insérer une image format ( 70 x 52 mm)</a:t>
            </a:r>
          </a:p>
        </p:txBody>
      </p:sp>
    </p:spTree>
    <p:extLst>
      <p:ext uri="{BB962C8B-B14F-4D97-AF65-F5344CB8AC3E}">
        <p14:creationId xmlns:p14="http://schemas.microsoft.com/office/powerpoint/2010/main" val="219187328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ta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1822468-7331-4F7C-B1BF-04B52AD754C7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rection Data &amp; IoT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447675"/>
            <a:ext cx="8064500" cy="4032250"/>
          </a:xfrm>
        </p:spPr>
        <p:txBody>
          <a:bodyPr anchor="ctr" anchorCtr="0"/>
          <a:lstStyle>
            <a:lvl1pPr marL="360000" indent="-360000">
              <a:lnSpc>
                <a:spcPct val="90000"/>
              </a:lnSpc>
              <a:spcBef>
                <a:spcPts val="3200"/>
              </a:spcBef>
              <a:buFont typeface="Avenir LT Std 65 Medium" pitchFamily="34" charset="0"/>
              <a:buChar char="+"/>
              <a:defRPr sz="2800" b="0" cap="all" baseline="0"/>
            </a:lvl1pPr>
            <a:lvl2pPr marL="360000">
              <a:lnSpc>
                <a:spcPct val="90000"/>
              </a:lnSpc>
              <a:spcAft>
                <a:spcPts val="0"/>
              </a:spcAft>
              <a:defRPr sz="1500" cap="all" baseline="0">
                <a:latin typeface="+mn-lt"/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143316700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r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1" y="1743074"/>
            <a:ext cx="3960000" cy="2736851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4BA907F-DD00-482F-BBA9-DAD148FEF875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rection Data &amp; IoT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950913"/>
            <a:ext cx="48240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1792265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- 2/3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pour une image  6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3533775"/>
          </a:xfrm>
        </p:spPr>
        <p:txBody>
          <a:bodyPr/>
          <a:lstStyle>
            <a:lvl1pPr algn="ctr">
              <a:defRPr baseline="0">
                <a:solidFill>
                  <a:schemeClr val="bg2"/>
                </a:solidFill>
              </a:defRPr>
            </a:lvl1pPr>
          </a:lstStyle>
          <a:p>
            <a:r>
              <a:rPr lang="en-GB"/>
              <a:t>Insert your picture here</a:t>
            </a:r>
          </a:p>
        </p:txBody>
      </p:sp>
    </p:spTree>
    <p:extLst>
      <p:ext uri="{BB962C8B-B14F-4D97-AF65-F5344CB8AC3E}">
        <p14:creationId xmlns:p14="http://schemas.microsoft.com/office/powerpoint/2010/main" val="1438362402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1" y="1743074"/>
            <a:ext cx="8064499" cy="2736851"/>
          </a:xfrm>
          <a:prstGeom prst="rect">
            <a:avLst/>
          </a:prstGeom>
        </p:spPr>
        <p:txBody>
          <a:bodyPr/>
          <a:lstStyle>
            <a:lvl1pPr>
              <a:defRPr b="1">
                <a:latin typeface="Avenir LT Std 65 Medium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10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49" y="4813200"/>
            <a:ext cx="7669213" cy="162000"/>
          </a:xfrm>
          <a:prstGeom prst="rect">
            <a:avLst/>
          </a:prstGeom>
        </p:spPr>
        <p:txBody>
          <a:bodyPr/>
          <a:lstStyle/>
          <a:p>
            <a:fld id="{4A04D39E-B7AC-4AF0-B4E1-AC47F00A17CB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12" name="Espace réservé du texte 13"/>
          <p:cNvSpPr>
            <a:spLocks noGrp="1"/>
          </p:cNvSpPr>
          <p:nvPr>
            <p:ph type="body" sz="quarter" idx="14"/>
          </p:nvPr>
        </p:nvSpPr>
        <p:spPr bwMode="gray">
          <a:xfrm>
            <a:off x="538480" y="371793"/>
            <a:ext cx="8035290" cy="43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3200" b="0" i="0" cap="none" baseline="0">
                <a:solidFill>
                  <a:srgbClr val="71B304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950913"/>
            <a:ext cx="8064500" cy="432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i="0" cap="none" baseline="0">
                <a:solidFill>
                  <a:srgbClr val="747678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56753916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 (Think-ce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96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-5052" y="-3248"/>
            <a:ext cx="9144000" cy="498022"/>
          </a:xfrm>
          <a:solidFill>
            <a:srgbClr val="E1E1E1"/>
          </a:solidFill>
          <a:ln w="9525">
            <a:solidFill>
              <a:srgbClr val="E1E1E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68580" rIns="90000" bIns="68580" rtlCol="0" anchor="ctr" anchorCtr="0"/>
          <a:lstStyle>
            <a:lvl1pPr>
              <a:defRPr lang="fr-FR" spc="-1">
                <a:solidFill>
                  <a:srgbClr val="009AA6"/>
                </a:solidFill>
                <a:uFill>
                  <a:solidFill>
                    <a:srgbClr val="FFFFFF"/>
                  </a:solidFill>
                </a:u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noProof="0"/>
              <a:t>Nom du chantier</a:t>
            </a:r>
          </a:p>
        </p:txBody>
      </p:sp>
    </p:spTree>
    <p:extLst>
      <p:ext uri="{BB962C8B-B14F-4D97-AF65-F5344CB8AC3E}">
        <p14:creationId xmlns:p14="http://schemas.microsoft.com/office/powerpoint/2010/main" val="142458379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re de diapositive"/>
          <p:cNvSpPr txBox="1">
            <a:spLocks noGrp="1"/>
          </p:cNvSpPr>
          <p:nvPr>
            <p:ph type="title" hasCustomPrompt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re de diapositive</a:t>
            </a:r>
          </a:p>
        </p:txBody>
      </p:sp>
      <p:sp>
        <p:nvSpPr>
          <p:cNvPr id="43" name="Sous-titre de diapositive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452438" y="889861"/>
            <a:ext cx="8239125" cy="350543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309563">
              <a:lnSpc>
                <a:spcPct val="100000"/>
              </a:lnSpc>
              <a:spcBef>
                <a:spcPts val="0"/>
              </a:spcBef>
              <a:buSzTx/>
              <a:buNone/>
              <a:defRPr sz="2063" b="1"/>
            </a:lvl1pPr>
          </a:lstStyle>
          <a:p>
            <a:r>
              <a:t>Sous-titre de diapositive</a:t>
            </a:r>
          </a:p>
        </p:txBody>
      </p:sp>
      <p:sp>
        <p:nvSpPr>
          <p:cNvPr id="44" name="Texte niveau 1…"/>
          <p:cNvSpPr txBox="1">
            <a:spLocks noGrp="1"/>
          </p:cNvSpPr>
          <p:nvPr>
            <p:ph type="body" idx="1" hasCustomPrompt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de puce de diapositiv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45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55708586"/>
      </p:ext>
    </p:extLst>
  </p:cSld>
  <p:clrMapOvr>
    <a:masterClrMapping/>
  </p:clrMapOvr>
  <p:transition spd="med"/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mmaire_typ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1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11" name="Obje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3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Image 8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0575" y="4694238"/>
            <a:ext cx="552450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5" name="Objet 9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12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15" name="Obje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3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 bwMode="gray">
          <a:xfrm>
            <a:off x="539755" y="486009"/>
            <a:ext cx="8064499" cy="464913"/>
          </a:xfrm>
        </p:spPr>
        <p:txBody>
          <a:bodyPr/>
          <a:lstStyle>
            <a:lvl1pPr>
              <a:defRPr b="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fr-FR" noProof="0"/>
              <a:t>Modifiez le style du titre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7" y="1267898"/>
            <a:ext cx="4342279" cy="230832"/>
          </a:xfrm>
          <a:solidFill>
            <a:schemeClr val="accent1"/>
          </a:solidFill>
        </p:spPr>
        <p:txBody>
          <a:bodyPr wrap="non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tabLst>
                <a:tab pos="355472" algn="l"/>
              </a:tabLst>
              <a:defRPr sz="1500" b="0" cap="all" baseline="0">
                <a:solidFill>
                  <a:schemeClr val="bg1"/>
                </a:solidFill>
                <a:latin typeface="Avenir LT Std 65 Medium" pitchFamily="34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/>
          </p:nvPr>
        </p:nvSpPr>
        <p:spPr bwMode="gray">
          <a:xfrm>
            <a:off x="900117" y="1540350"/>
            <a:ext cx="7704137" cy="468000"/>
          </a:xfrm>
        </p:spPr>
        <p:txBody>
          <a:bodyPr/>
          <a:lstStyle>
            <a:lvl1pPr marL="143948" indent="-143948">
              <a:lnSpc>
                <a:spcPct val="90000"/>
              </a:lnSpc>
              <a:spcAft>
                <a:spcPts val="0"/>
              </a:spcAft>
              <a:buFont typeface="Avenir LT Std 45 Book" pitchFamily="34" charset="0"/>
              <a:buChar char="+"/>
              <a:defRPr sz="1500" b="0" cap="all" baseline="0">
                <a:solidFill>
                  <a:schemeClr val="tx1"/>
                </a:solidFill>
                <a:latin typeface="+mn-lt"/>
              </a:defRPr>
            </a:lvl1pPr>
            <a:lvl2pPr marL="143948">
              <a:lnSpc>
                <a:spcPct val="90000"/>
              </a:lnSpc>
              <a:spcAft>
                <a:spcPts val="0"/>
              </a:spcAft>
              <a:defRPr b="0">
                <a:latin typeface="Avenir LT Std 65 Medium" pitchFamily="34" charset="0"/>
              </a:defRPr>
            </a:lvl2pPr>
            <a:lvl3pPr indent="0">
              <a:spcAft>
                <a:spcPts val="0"/>
              </a:spcAft>
              <a:buNone/>
              <a:defRPr b="1"/>
            </a:lvl3pPr>
            <a:lvl4pPr marL="143948" indent="0">
              <a:buNone/>
              <a:defRPr sz="1300" b="1"/>
            </a:lvl4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Espace réservé du texte 13"/>
          <p:cNvSpPr>
            <a:spLocks noGrp="1"/>
          </p:cNvSpPr>
          <p:nvPr>
            <p:ph type="body" sz="quarter" idx="15"/>
          </p:nvPr>
        </p:nvSpPr>
        <p:spPr bwMode="gray">
          <a:xfrm>
            <a:off x="539757" y="2057556"/>
            <a:ext cx="4342279" cy="230832"/>
          </a:xfrm>
          <a:solidFill>
            <a:schemeClr val="accent1"/>
          </a:solidFill>
        </p:spPr>
        <p:txBody>
          <a:bodyPr wrap="non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tabLst>
                <a:tab pos="355472" algn="l"/>
              </a:tabLst>
              <a:defRPr sz="1500" b="0" cap="all" baseline="0">
                <a:solidFill>
                  <a:schemeClr val="bg1"/>
                </a:solidFill>
                <a:latin typeface="Avenir LT Std 65 Medium" pitchFamily="34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9" name="Espace réservé du texte 11"/>
          <p:cNvSpPr>
            <a:spLocks noGrp="1"/>
          </p:cNvSpPr>
          <p:nvPr>
            <p:ph type="body" sz="quarter" idx="16"/>
          </p:nvPr>
        </p:nvSpPr>
        <p:spPr bwMode="gray">
          <a:xfrm>
            <a:off x="900117" y="2330008"/>
            <a:ext cx="7704137" cy="468000"/>
          </a:xfrm>
        </p:spPr>
        <p:txBody>
          <a:bodyPr/>
          <a:lstStyle>
            <a:lvl1pPr marL="143948" indent="-143948">
              <a:lnSpc>
                <a:spcPct val="90000"/>
              </a:lnSpc>
              <a:spcAft>
                <a:spcPts val="0"/>
              </a:spcAft>
              <a:buFont typeface="Avenir LT Std 45 Book" pitchFamily="34" charset="0"/>
              <a:buChar char="+"/>
              <a:defRPr sz="1500" b="0" cap="all" baseline="0">
                <a:solidFill>
                  <a:schemeClr val="tx1"/>
                </a:solidFill>
                <a:latin typeface="+mn-lt"/>
              </a:defRPr>
            </a:lvl1pPr>
            <a:lvl2pPr marL="143948">
              <a:lnSpc>
                <a:spcPct val="90000"/>
              </a:lnSpc>
              <a:spcAft>
                <a:spcPts val="0"/>
              </a:spcAft>
              <a:defRPr b="0">
                <a:latin typeface="Avenir LT Std 65 Medium" pitchFamily="34" charset="0"/>
              </a:defRPr>
            </a:lvl2pPr>
            <a:lvl3pPr indent="0">
              <a:spcAft>
                <a:spcPts val="0"/>
              </a:spcAft>
              <a:buNone/>
              <a:defRPr/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0" name="Espace réservé du texte 13"/>
          <p:cNvSpPr>
            <a:spLocks noGrp="1"/>
          </p:cNvSpPr>
          <p:nvPr>
            <p:ph type="body" sz="quarter" idx="17"/>
          </p:nvPr>
        </p:nvSpPr>
        <p:spPr bwMode="gray">
          <a:xfrm>
            <a:off x="539757" y="2851749"/>
            <a:ext cx="4342279" cy="230832"/>
          </a:xfrm>
          <a:solidFill>
            <a:schemeClr val="accent1"/>
          </a:solidFill>
        </p:spPr>
        <p:txBody>
          <a:bodyPr wrap="non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tabLst>
                <a:tab pos="355472" algn="l"/>
              </a:tabLst>
              <a:defRPr sz="1500" b="0" cap="all" baseline="0">
                <a:solidFill>
                  <a:schemeClr val="bg1"/>
                </a:solidFill>
                <a:latin typeface="Avenir LT Std 65 Medium" pitchFamily="34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1" name="Espace réservé du texte 11"/>
          <p:cNvSpPr>
            <a:spLocks noGrp="1"/>
          </p:cNvSpPr>
          <p:nvPr>
            <p:ph type="body" sz="quarter" idx="18"/>
          </p:nvPr>
        </p:nvSpPr>
        <p:spPr bwMode="gray">
          <a:xfrm>
            <a:off x="900117" y="3124201"/>
            <a:ext cx="7704137" cy="468000"/>
          </a:xfrm>
        </p:spPr>
        <p:txBody>
          <a:bodyPr/>
          <a:lstStyle>
            <a:lvl1pPr marL="143948" indent="-143948">
              <a:lnSpc>
                <a:spcPct val="90000"/>
              </a:lnSpc>
              <a:spcAft>
                <a:spcPts val="0"/>
              </a:spcAft>
              <a:buFont typeface="Avenir LT Std 45 Book" pitchFamily="34" charset="0"/>
              <a:buChar char="+"/>
              <a:defRPr sz="1500" b="0" cap="all" baseline="0">
                <a:solidFill>
                  <a:schemeClr val="tx1"/>
                </a:solidFill>
                <a:latin typeface="+mn-lt"/>
              </a:defRPr>
            </a:lvl1pPr>
            <a:lvl2pPr marL="143948">
              <a:lnSpc>
                <a:spcPct val="90000"/>
              </a:lnSpc>
              <a:spcAft>
                <a:spcPts val="0"/>
              </a:spcAft>
              <a:defRPr b="0">
                <a:latin typeface="Avenir LT Std 65 Medium" pitchFamily="34" charset="0"/>
              </a:defRPr>
            </a:lvl2pPr>
            <a:lvl3pPr indent="0">
              <a:spcAft>
                <a:spcPts val="0"/>
              </a:spcAft>
              <a:buNone/>
              <a:defRPr/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2" name="Espace réservé du texte 13"/>
          <p:cNvSpPr>
            <a:spLocks noGrp="1"/>
          </p:cNvSpPr>
          <p:nvPr>
            <p:ph type="body" sz="quarter" idx="19"/>
          </p:nvPr>
        </p:nvSpPr>
        <p:spPr bwMode="gray">
          <a:xfrm>
            <a:off x="539757" y="3652188"/>
            <a:ext cx="4342279" cy="230832"/>
          </a:xfrm>
          <a:solidFill>
            <a:schemeClr val="accent1"/>
          </a:solidFill>
        </p:spPr>
        <p:txBody>
          <a:bodyPr wrap="non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tabLst>
                <a:tab pos="355472" algn="l"/>
              </a:tabLst>
              <a:defRPr sz="1500" b="0" cap="all" baseline="0">
                <a:solidFill>
                  <a:schemeClr val="bg1"/>
                </a:solidFill>
                <a:latin typeface="Avenir LT Std 65 Medium" pitchFamily="34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3" name="Espace réservé du texte 11"/>
          <p:cNvSpPr>
            <a:spLocks noGrp="1"/>
          </p:cNvSpPr>
          <p:nvPr>
            <p:ph type="body" sz="quarter" idx="20"/>
          </p:nvPr>
        </p:nvSpPr>
        <p:spPr bwMode="gray">
          <a:xfrm>
            <a:off x="900117" y="3924640"/>
            <a:ext cx="7704137" cy="468000"/>
          </a:xfrm>
        </p:spPr>
        <p:txBody>
          <a:bodyPr/>
          <a:lstStyle>
            <a:lvl1pPr marL="143948" indent="-143948">
              <a:lnSpc>
                <a:spcPct val="90000"/>
              </a:lnSpc>
              <a:spcAft>
                <a:spcPts val="0"/>
              </a:spcAft>
              <a:buFont typeface="Avenir LT Std 45 Book" pitchFamily="34" charset="0"/>
              <a:buChar char="+"/>
              <a:defRPr sz="1500" b="0" cap="all" baseline="0">
                <a:solidFill>
                  <a:schemeClr val="tx1"/>
                </a:solidFill>
                <a:latin typeface="+mn-lt"/>
              </a:defRPr>
            </a:lvl1pPr>
            <a:lvl2pPr marL="143948">
              <a:lnSpc>
                <a:spcPct val="90000"/>
              </a:lnSpc>
              <a:spcAft>
                <a:spcPts val="0"/>
              </a:spcAft>
              <a:defRPr b="0">
                <a:latin typeface="Avenir LT Std 65 Medium" pitchFamily="34" charset="0"/>
              </a:defRPr>
            </a:lvl2pPr>
            <a:lvl3pPr indent="0">
              <a:spcAft>
                <a:spcPts val="0"/>
              </a:spcAft>
              <a:buNone/>
              <a:defRPr/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6" name="Espace réservé du numéro de diapositive 7"/>
          <p:cNvSpPr>
            <a:spLocks noGrp="1"/>
          </p:cNvSpPr>
          <p:nvPr>
            <p:ph type="sldNum" sz="quarter" idx="21"/>
            <p:custDataLst>
              <p:tags r:id="rId4"/>
            </p:custDataLst>
          </p:nvPr>
        </p:nvSpPr>
        <p:spPr/>
        <p:txBody>
          <a:bodyPr/>
          <a:lstStyle>
            <a:lvl1pPr defTabSz="914089">
              <a:defRPr/>
            </a:lvl1pPr>
          </a:lstStyle>
          <a:p>
            <a:pPr>
              <a:defRPr/>
            </a:pPr>
            <a:fld id="{2B6E01C8-5E08-4803-B156-CC08C2D99D19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17" name="Espace réservé du pied de page 8"/>
          <p:cNvSpPr>
            <a:spLocks noGrp="1"/>
          </p:cNvSpPr>
          <p:nvPr>
            <p:ph type="ftr" sz="quarter" idx="22"/>
            <p:custDataLst>
              <p:tags r:id="rId5"/>
            </p:custDataLst>
          </p:nvPr>
        </p:nvSpPr>
        <p:spPr/>
        <p:txBody>
          <a:bodyPr/>
          <a:lstStyle>
            <a:lvl1pPr defTabSz="914089">
              <a:defRPr/>
            </a:lvl1pPr>
          </a:lstStyle>
          <a:p>
            <a:pPr>
              <a:defRPr/>
            </a:pPr>
            <a:r>
              <a:rPr lang="pt-BR"/>
              <a:t>Offres de solutions IoT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33301339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mmaire_typ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03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4" name="Obje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3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8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0575" y="4694238"/>
            <a:ext cx="552450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t 9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036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6" name="Obje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3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 bwMode="gray">
          <a:xfrm>
            <a:off x="539755" y="486009"/>
            <a:ext cx="8064499" cy="464913"/>
          </a:xfrm>
        </p:spPr>
        <p:txBody>
          <a:bodyPr/>
          <a:lstStyle>
            <a:lvl1pPr>
              <a:defRPr b="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fr-FR" noProof="0"/>
              <a:t>Modifiez le style du titr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3"/>
          </p:nvPr>
        </p:nvSpPr>
        <p:spPr bwMode="gray">
          <a:xfrm>
            <a:off x="539755" y="1276361"/>
            <a:ext cx="8064499" cy="3203575"/>
          </a:xfrm>
        </p:spPr>
        <p:txBody>
          <a:bodyPr/>
          <a:lstStyle>
            <a:lvl1pPr>
              <a:spcBef>
                <a:spcPts val="1400"/>
              </a:spcBef>
              <a:spcAft>
                <a:spcPts val="500"/>
              </a:spcAft>
              <a:defRPr sz="1500" b="0" cap="all" baseline="0">
                <a:solidFill>
                  <a:schemeClr val="accent3">
                    <a:lumMod val="75000"/>
                  </a:schemeClr>
                </a:solidFill>
                <a:latin typeface="Avenir LT Std 65 Medium" pitchFamily="34" charset="0"/>
              </a:defRPr>
            </a:lvl1pPr>
            <a:lvl2pPr>
              <a:lnSpc>
                <a:spcPct val="90000"/>
              </a:lnSpc>
              <a:spcAft>
                <a:spcPts val="0"/>
              </a:spcAft>
              <a:defRPr sz="1500" cap="all" baseline="0">
                <a:latin typeface="Avenir LT Std 55 Roman" pitchFamily="34" charset="0"/>
              </a:defRPr>
            </a:lvl2pPr>
            <a:lvl3pPr marL="0" indent="0">
              <a:lnSpc>
                <a:spcPct val="90000"/>
              </a:lnSpc>
              <a:spcAft>
                <a:spcPts val="0"/>
              </a:spcAft>
              <a:buNone/>
              <a:defRPr sz="1500" cap="all" baseline="0"/>
            </a:lvl3pPr>
            <a:lvl4pPr marL="0" indent="0">
              <a:lnSpc>
                <a:spcPct val="90000"/>
              </a:lnSpc>
              <a:spcAft>
                <a:spcPts val="0"/>
              </a:spcAft>
              <a:buNone/>
              <a:defRPr sz="1500" cap="all" baseline="0"/>
            </a:lvl4pPr>
            <a:lvl5pPr marL="0" indent="0">
              <a:lnSpc>
                <a:spcPct val="90000"/>
              </a:lnSpc>
              <a:spcAft>
                <a:spcPts val="0"/>
              </a:spcAft>
              <a:defRPr sz="1500" cap="all" baseline="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7" name="Espace réservé du numéro de diapositive 7"/>
          <p:cNvSpPr>
            <a:spLocks noGrp="1"/>
          </p:cNvSpPr>
          <p:nvPr>
            <p:ph type="sldNum" sz="quarter" idx="14"/>
            <p:custDataLst>
              <p:tags r:id="rId4"/>
            </p:custDataLst>
          </p:nvPr>
        </p:nvSpPr>
        <p:spPr/>
        <p:txBody>
          <a:bodyPr/>
          <a:lstStyle>
            <a:lvl1pPr defTabSz="914089">
              <a:defRPr/>
            </a:lvl1pPr>
          </a:lstStyle>
          <a:p>
            <a:pPr>
              <a:defRPr/>
            </a:pPr>
            <a:fld id="{9B1F77D8-ADE3-4500-9EC0-435BE806C806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8" name="Espace réservé du pied de page 8"/>
          <p:cNvSpPr>
            <a:spLocks noGrp="1"/>
          </p:cNvSpPr>
          <p:nvPr>
            <p:ph type="ftr" sz="quarter" idx="15"/>
            <p:custDataLst>
              <p:tags r:id="rId5"/>
            </p:custDataLst>
          </p:nvPr>
        </p:nvSpPr>
        <p:spPr/>
        <p:txBody>
          <a:bodyPr/>
          <a:lstStyle>
            <a:lvl1pPr defTabSz="914089">
              <a:defRPr/>
            </a:lvl1pPr>
          </a:lstStyle>
          <a:p>
            <a:pPr>
              <a:defRPr/>
            </a:pPr>
            <a:r>
              <a:rPr lang="pt-BR"/>
              <a:t>Offres de solutions IoT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19330045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059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4" name="Obje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3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8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0575" y="4694238"/>
            <a:ext cx="552450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t 9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060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6" name="Obje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3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4"/>
            </p:custDataLst>
          </p:nvPr>
        </p:nvSpPr>
        <p:spPr bwMode="gray">
          <a:xfrm>
            <a:off x="179392" y="179388"/>
            <a:ext cx="8785225" cy="352901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7" tIns="45704" rIns="91407" bIns="45704" anchor="ctr"/>
          <a:lstStyle/>
          <a:p>
            <a:pPr algn="ctr" defTabSz="914070" fontAlgn="auto">
              <a:spcBef>
                <a:spcPts val="0"/>
              </a:spcBef>
              <a:spcAft>
                <a:spcPts val="0"/>
              </a:spcAft>
              <a:defRPr/>
            </a:pPr>
            <a:endParaRPr lang="fr-FR">
              <a:solidFill>
                <a:prstClr val="white"/>
              </a:solidFill>
            </a:endParaRP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267496"/>
            <a:ext cx="8064500" cy="1931604"/>
          </a:xfrm>
        </p:spPr>
        <p:txBody>
          <a:bodyPr anchor="b"/>
          <a:lstStyle>
            <a:lvl1pPr>
              <a:lnSpc>
                <a:spcPct val="90000"/>
              </a:lnSpc>
              <a:spcAft>
                <a:spcPts val="0"/>
              </a:spcAft>
              <a:defRPr sz="5000" b="0" kern="1200" cap="all" baseline="0">
                <a:solidFill>
                  <a:schemeClr val="bg1"/>
                </a:solidFill>
                <a:latin typeface="Avenir LT Std 65 Medium" pitchFamily="34" charset="0"/>
              </a:defRPr>
            </a:lvl1pPr>
            <a:lvl2pPr>
              <a:lnSpc>
                <a:spcPct val="90000"/>
              </a:lnSpc>
              <a:spcAft>
                <a:spcPts val="0"/>
              </a:spcAft>
              <a:defRPr sz="3500" cap="all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4"/>
          </p:nvPr>
        </p:nvSpPr>
        <p:spPr bwMode="gray">
          <a:xfrm>
            <a:off x="539750" y="2344180"/>
            <a:ext cx="8064500" cy="1350000"/>
          </a:xfrm>
        </p:spPr>
        <p:txBody>
          <a:bodyPr/>
          <a:lstStyle>
            <a:lvl1pPr marL="179936" indent="-179936">
              <a:lnSpc>
                <a:spcPct val="90000"/>
              </a:lnSpc>
              <a:spcAft>
                <a:spcPts val="0"/>
              </a:spcAft>
              <a:buFont typeface="Arial" pitchFamily="34" charset="0"/>
              <a:buChar char="+"/>
              <a:defRPr sz="1600" b="0" cap="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5"/>
            <p:custDataLst>
              <p:tags r:id="rId5"/>
            </p:custDataLst>
          </p:nvPr>
        </p:nvSpPr>
        <p:spPr/>
        <p:txBody>
          <a:bodyPr/>
          <a:lstStyle>
            <a:lvl1pPr defTabSz="914089">
              <a:defRPr/>
            </a:lvl1pPr>
          </a:lstStyle>
          <a:p>
            <a:pPr>
              <a:defRPr/>
            </a:pPr>
            <a:fld id="{90E1F611-0AF5-4C2C-A45C-2CCE39A60C7E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6"/>
            <p:custDataLst>
              <p:tags r:id="rId6"/>
            </p:custDataLst>
          </p:nvPr>
        </p:nvSpPr>
        <p:spPr/>
        <p:txBody>
          <a:bodyPr/>
          <a:lstStyle>
            <a:lvl1pPr defTabSz="914089">
              <a:defRPr/>
            </a:lvl1pPr>
          </a:lstStyle>
          <a:p>
            <a:pPr>
              <a:defRPr/>
            </a:pPr>
            <a:r>
              <a:rPr lang="pt-BR"/>
              <a:t>Offres de solutions IoT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85860541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us_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83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5" name="Obje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3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 8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0575" y="4694238"/>
            <a:ext cx="552450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Objet 9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84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7" name="Obje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3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 bwMode="gray">
          <a:xfrm>
            <a:off x="179392" y="179388"/>
            <a:ext cx="8785225" cy="3529012"/>
          </a:xfrm>
          <a:prstGeom prst="rect">
            <a:avLst/>
          </a:prstGeom>
          <a:solidFill>
            <a:srgbClr val="D7D7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7" tIns="45704" rIns="91407" bIns="45704" anchor="ctr"/>
          <a:lstStyle/>
          <a:p>
            <a:pPr algn="ctr" defTabSz="914070" fontAlgn="auto">
              <a:spcBef>
                <a:spcPts val="0"/>
              </a:spcBef>
              <a:spcAft>
                <a:spcPts val="0"/>
              </a:spcAft>
              <a:defRPr/>
            </a:pPr>
            <a:endParaRPr lang="fr-FR">
              <a:solidFill>
                <a:prstClr val="white"/>
              </a:solidFill>
            </a:endParaRP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3"/>
          </p:nvPr>
        </p:nvSpPr>
        <p:spPr bwMode="gray">
          <a:xfrm>
            <a:off x="539760" y="1669455"/>
            <a:ext cx="4342279" cy="230832"/>
          </a:xfrm>
          <a:solidFill>
            <a:schemeClr val="accent1"/>
          </a:solidFill>
        </p:spPr>
        <p:txBody>
          <a:bodyPr wrap="none" anchor="ctr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500" b="0" kern="1200" cap="all" baseline="0">
                <a:solidFill>
                  <a:schemeClr val="bg1"/>
                </a:solidFill>
                <a:latin typeface="Avenir LT Std 65 Medium" pitchFamily="34" charset="0"/>
              </a:defRPr>
            </a:lvl1pPr>
            <a:lvl2pPr>
              <a:lnSpc>
                <a:spcPct val="90000"/>
              </a:lnSpc>
              <a:defRPr sz="3500" cap="all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4"/>
          </p:nvPr>
        </p:nvSpPr>
        <p:spPr bwMode="gray">
          <a:xfrm>
            <a:off x="539750" y="1947070"/>
            <a:ext cx="8064500" cy="1350000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3500" b="0" cap="all" baseline="0">
                <a:solidFill>
                  <a:schemeClr val="accent3">
                    <a:lumMod val="75000"/>
                  </a:schemeClr>
                </a:solidFill>
                <a:latin typeface="Avenir LT Std 65 Medium" pitchFamily="34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Espace réservé du texte 11"/>
          <p:cNvSpPr>
            <a:spLocks noGrp="1"/>
          </p:cNvSpPr>
          <p:nvPr>
            <p:ph type="body" sz="quarter" idx="15"/>
          </p:nvPr>
        </p:nvSpPr>
        <p:spPr bwMode="gray">
          <a:xfrm>
            <a:off x="539760" y="1438623"/>
            <a:ext cx="4342279" cy="230832"/>
          </a:xfrm>
          <a:solidFill>
            <a:schemeClr val="accent1"/>
          </a:solidFill>
        </p:spPr>
        <p:txBody>
          <a:bodyPr wrap="none" anchor="ctr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500" b="0" kern="1200" cap="all" baseline="0">
                <a:solidFill>
                  <a:schemeClr val="bg1"/>
                </a:solidFill>
                <a:latin typeface="Avenir LT Std 65 Medium" pitchFamily="34" charset="0"/>
              </a:defRPr>
            </a:lvl1pPr>
            <a:lvl2pPr>
              <a:lnSpc>
                <a:spcPct val="90000"/>
              </a:lnSpc>
              <a:defRPr sz="3500" cap="all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" name="Espace réservé du numéro de diapositive 7"/>
          <p:cNvSpPr>
            <a:spLocks noGrp="1"/>
          </p:cNvSpPr>
          <p:nvPr>
            <p:ph type="sldNum" sz="quarter" idx="16"/>
            <p:custDataLst>
              <p:tags r:id="rId5"/>
            </p:custDataLst>
          </p:nvPr>
        </p:nvSpPr>
        <p:spPr/>
        <p:txBody>
          <a:bodyPr/>
          <a:lstStyle>
            <a:lvl1pPr defTabSz="914089">
              <a:defRPr/>
            </a:lvl1pPr>
          </a:lstStyle>
          <a:p>
            <a:pPr>
              <a:defRPr/>
            </a:pPr>
            <a:fld id="{497E81B9-F97D-4E0D-81CD-209C2F90A0C0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10" name="Espace réservé du pied de page 8"/>
          <p:cNvSpPr>
            <a:spLocks noGrp="1"/>
          </p:cNvSpPr>
          <p:nvPr>
            <p:ph type="ftr" sz="quarter" idx="17"/>
            <p:custDataLst>
              <p:tags r:id="rId6"/>
            </p:custDataLst>
          </p:nvPr>
        </p:nvSpPr>
        <p:spPr/>
        <p:txBody>
          <a:bodyPr/>
          <a:lstStyle>
            <a:lvl1pPr defTabSz="914089">
              <a:defRPr/>
            </a:lvl1pPr>
          </a:lstStyle>
          <a:p>
            <a:pPr>
              <a:defRPr/>
            </a:pPr>
            <a:r>
              <a:rPr lang="pt-BR"/>
              <a:t>Offres de solutions IoT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62963057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ous_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0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5" name="Obje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3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 8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0575" y="4694238"/>
            <a:ext cx="552450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Objet 9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08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7" name="Obje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3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Espace réservé du texte 11"/>
          <p:cNvSpPr>
            <a:spLocks noGrp="1"/>
          </p:cNvSpPr>
          <p:nvPr>
            <p:ph type="body" sz="quarter" idx="13"/>
          </p:nvPr>
        </p:nvSpPr>
        <p:spPr bwMode="gray">
          <a:xfrm>
            <a:off x="539760" y="1669455"/>
            <a:ext cx="4342279" cy="230832"/>
          </a:xfrm>
          <a:solidFill>
            <a:schemeClr val="accent1"/>
          </a:solidFill>
        </p:spPr>
        <p:txBody>
          <a:bodyPr wrap="none" anchor="ctr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500" b="0" kern="1200" cap="all" baseline="0">
                <a:solidFill>
                  <a:schemeClr val="bg1"/>
                </a:solidFill>
                <a:latin typeface="Avenir LT Std 65 Medium" pitchFamily="34" charset="0"/>
              </a:defRPr>
            </a:lvl1pPr>
            <a:lvl2pPr>
              <a:lnSpc>
                <a:spcPct val="90000"/>
              </a:lnSpc>
              <a:defRPr sz="3500" cap="all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4"/>
          </p:nvPr>
        </p:nvSpPr>
        <p:spPr bwMode="gray">
          <a:xfrm>
            <a:off x="539750" y="1947070"/>
            <a:ext cx="8064500" cy="1350000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3500" b="0" cap="all" baseline="0">
                <a:solidFill>
                  <a:schemeClr val="accent3">
                    <a:lumMod val="75000"/>
                  </a:schemeClr>
                </a:solidFill>
                <a:latin typeface="Avenir LT Std 65 Medium" pitchFamily="34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Espace réservé du texte 11"/>
          <p:cNvSpPr>
            <a:spLocks noGrp="1"/>
          </p:cNvSpPr>
          <p:nvPr>
            <p:ph type="body" sz="quarter" idx="15"/>
          </p:nvPr>
        </p:nvSpPr>
        <p:spPr bwMode="gray">
          <a:xfrm>
            <a:off x="539760" y="1438623"/>
            <a:ext cx="4342279" cy="230832"/>
          </a:xfrm>
          <a:solidFill>
            <a:schemeClr val="accent1"/>
          </a:solidFill>
        </p:spPr>
        <p:txBody>
          <a:bodyPr wrap="none" anchor="ctr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500" b="0" kern="1200" cap="all" baseline="0">
                <a:solidFill>
                  <a:schemeClr val="bg1"/>
                </a:solidFill>
                <a:latin typeface="Avenir LT Std 65 Medium" pitchFamily="34" charset="0"/>
              </a:defRPr>
            </a:lvl1pPr>
            <a:lvl2pPr>
              <a:lnSpc>
                <a:spcPct val="90000"/>
              </a:lnSpc>
              <a:defRPr sz="3500" cap="all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6"/>
            <p:custDataLst>
              <p:tags r:id="rId4"/>
            </p:custDataLst>
          </p:nvPr>
        </p:nvSpPr>
        <p:spPr/>
        <p:txBody>
          <a:bodyPr/>
          <a:lstStyle>
            <a:lvl1pPr defTabSz="914089">
              <a:defRPr/>
            </a:lvl1pPr>
          </a:lstStyle>
          <a:p>
            <a:pPr>
              <a:defRPr/>
            </a:pPr>
            <a:fld id="{4484EEDA-B005-45E1-8EA2-5832B91AAD46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7"/>
            <p:custDataLst>
              <p:tags r:id="rId5"/>
            </p:custDataLst>
          </p:nvPr>
        </p:nvSpPr>
        <p:spPr/>
        <p:txBody>
          <a:bodyPr/>
          <a:lstStyle>
            <a:lvl1pPr defTabSz="914089">
              <a:defRPr/>
            </a:lvl1pPr>
          </a:lstStyle>
          <a:p>
            <a:pPr>
              <a:defRPr/>
            </a:pPr>
            <a:r>
              <a:rPr lang="pt-BR"/>
              <a:t>Offres de solutions IoT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89242499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ccroche_visu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3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4" name="Obje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3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8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0575" y="4694238"/>
            <a:ext cx="552450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t 9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32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6" name="Obje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3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Espace réservé du texte 14"/>
          <p:cNvSpPr>
            <a:spLocks noGrp="1"/>
          </p:cNvSpPr>
          <p:nvPr>
            <p:ph type="body" sz="quarter" idx="19"/>
          </p:nvPr>
        </p:nvSpPr>
        <p:spPr bwMode="gray">
          <a:xfrm>
            <a:off x="539750" y="633882"/>
            <a:ext cx="8064500" cy="3600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4500" b="0" cap="all" baseline="0">
                <a:latin typeface="+mj-lt"/>
              </a:defRPr>
            </a:lvl1pPr>
            <a:lvl2pPr>
              <a:lnSpc>
                <a:spcPct val="90000"/>
              </a:lnSpc>
              <a:spcBef>
                <a:spcPts val="1500"/>
              </a:spcBef>
              <a:spcAft>
                <a:spcPts val="0"/>
              </a:spcAft>
              <a:defRPr sz="1500" b="0" cap="all" baseline="0">
                <a:solidFill>
                  <a:srgbClr val="747678"/>
                </a:solidFill>
                <a:latin typeface="+mn-lt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2" name="Espace réservé pour une image  10"/>
          <p:cNvSpPr>
            <a:spLocks noGrp="1"/>
          </p:cNvSpPr>
          <p:nvPr>
            <p:ph type="pic" sz="quarter" idx="18"/>
          </p:nvPr>
        </p:nvSpPr>
        <p:spPr bwMode="gray">
          <a:xfrm>
            <a:off x="179388" y="179387"/>
            <a:ext cx="8785224" cy="4140000"/>
          </a:xfrm>
          <a:prstGeom prst="rect">
            <a:avLst/>
          </a:prstGeom>
          <a:solidFill>
            <a:srgbClr val="D7D7D7"/>
          </a:solidFill>
        </p:spPr>
        <p:txBody>
          <a:bodyPr lIns="719739" tIns="1259542" rIns="719739" rtlCol="0" anchor="ctr">
            <a:normAutofit/>
          </a:bodyPr>
          <a:lstStyle>
            <a:lvl1pPr algn="ctr">
              <a:defRPr sz="1300" b="0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</a:p>
        </p:txBody>
      </p:sp>
      <p:sp>
        <p:nvSpPr>
          <p:cNvPr id="7" name="Espace réservé du numéro de diapositive 7"/>
          <p:cNvSpPr>
            <a:spLocks noGrp="1"/>
          </p:cNvSpPr>
          <p:nvPr>
            <p:ph type="sldNum" sz="quarter" idx="20"/>
            <p:custDataLst>
              <p:tags r:id="rId4"/>
            </p:custDataLst>
          </p:nvPr>
        </p:nvSpPr>
        <p:spPr/>
        <p:txBody>
          <a:bodyPr/>
          <a:lstStyle>
            <a:lvl1pPr defTabSz="914089">
              <a:defRPr/>
            </a:lvl1pPr>
          </a:lstStyle>
          <a:p>
            <a:pPr>
              <a:defRPr/>
            </a:pPr>
            <a:fld id="{729206FA-6B1C-4E6C-875D-AE7BC3EBDB0E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8" name="Espace réservé du pied de page 8"/>
          <p:cNvSpPr>
            <a:spLocks noGrp="1"/>
          </p:cNvSpPr>
          <p:nvPr>
            <p:ph type="ftr" sz="quarter" idx="21"/>
            <p:custDataLst>
              <p:tags r:id="rId5"/>
            </p:custDataLst>
          </p:nvPr>
        </p:nvSpPr>
        <p:spPr/>
        <p:txBody>
          <a:bodyPr/>
          <a:lstStyle>
            <a:lvl1pPr defTabSz="914089">
              <a:defRPr/>
            </a:lvl1pPr>
          </a:lstStyle>
          <a:p>
            <a:pPr>
              <a:defRPr/>
            </a:pPr>
            <a:r>
              <a:rPr lang="pt-BR"/>
              <a:t>Offres de solutions IoT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76507257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15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5" name="Obje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3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 8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0575" y="4694238"/>
            <a:ext cx="552450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Objet 9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156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7" name="Obje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3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latin typeface="Avenir LT Std 65 Medium" pitchFamily="34" charset="0"/>
              </a:defRPr>
            </a:lvl1pPr>
          </a:lstStyle>
          <a:p>
            <a:r>
              <a:rPr lang="fr-FR" noProof="0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/>
        <p:txBody>
          <a:bodyPr/>
          <a:lstStyle>
            <a:lvl1pPr>
              <a:defRPr b="1">
                <a:latin typeface="Avenir LT Std 65 Medium" pitchFamily="34" charset="0"/>
              </a:defRPr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950914"/>
            <a:ext cx="80645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4"/>
            <p:custDataLst>
              <p:tags r:id="rId4"/>
            </p:custDataLst>
          </p:nvPr>
        </p:nvSpPr>
        <p:spPr/>
        <p:txBody>
          <a:bodyPr/>
          <a:lstStyle>
            <a:lvl1pPr defTabSz="914089">
              <a:defRPr/>
            </a:lvl1pPr>
          </a:lstStyle>
          <a:p>
            <a:pPr>
              <a:defRPr/>
            </a:pPr>
            <a:fld id="{AC416557-A6C5-4570-A1E8-CC8E071751D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5"/>
            <p:custDataLst>
              <p:tags r:id="rId5"/>
            </p:custDataLst>
          </p:nvPr>
        </p:nvSpPr>
        <p:spPr/>
        <p:txBody>
          <a:bodyPr/>
          <a:lstStyle>
            <a:lvl1pPr defTabSz="914089">
              <a:defRPr/>
            </a:lvl1pPr>
          </a:lstStyle>
          <a:p>
            <a:pPr>
              <a:defRPr/>
            </a:pPr>
            <a:r>
              <a:rPr lang="pt-BR"/>
              <a:t>Offres de solutions IoT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62704950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_2_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17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6" name="Obje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3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Image 8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0575" y="4694238"/>
            <a:ext cx="552450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Objet 9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180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8" name="Obje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3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 noProof="0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>
          <a:xfrm>
            <a:off x="539751" y="1743084"/>
            <a:ext cx="3960000" cy="2736851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950914"/>
            <a:ext cx="80645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2" name="Espace réservé du contenu 2"/>
          <p:cNvSpPr>
            <a:spLocks noGrp="1"/>
          </p:cNvSpPr>
          <p:nvPr>
            <p:ph idx="19"/>
          </p:nvPr>
        </p:nvSpPr>
        <p:spPr bwMode="gray">
          <a:xfrm>
            <a:off x="4644250" y="1743084"/>
            <a:ext cx="3960000" cy="2736851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</a:p>
        </p:txBody>
      </p:sp>
      <p:sp>
        <p:nvSpPr>
          <p:cNvPr id="9" name="Espace réservé du pied de page 4"/>
          <p:cNvSpPr>
            <a:spLocks noGrp="1"/>
          </p:cNvSpPr>
          <p:nvPr>
            <p:ph type="ftr" sz="quarter" idx="20"/>
            <p:custDataLst>
              <p:tags r:id="rId4"/>
            </p:custDataLst>
          </p:nvPr>
        </p:nvSpPr>
        <p:spPr/>
        <p:txBody>
          <a:bodyPr/>
          <a:lstStyle>
            <a:lvl1pPr algn="l" defTabSz="914089">
              <a:lnSpc>
                <a:spcPct val="90000"/>
              </a:lnSpc>
              <a:defRPr sz="800" b="0" cap="all" baseline="0">
                <a:solidFill>
                  <a:srgbClr val="A0A0A0"/>
                </a:solidFill>
                <a:latin typeface="Avenir LT Std 65 Medium" pitchFamily="34" charset="0"/>
              </a:defRPr>
            </a:lvl1pPr>
          </a:lstStyle>
          <a:p>
            <a:pPr>
              <a:defRPr/>
            </a:pPr>
            <a:r>
              <a:rPr lang="pt-BR"/>
              <a:t>Offres de solutions IoT</a:t>
            </a:r>
            <a:endParaRPr lang="fr-FR"/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21"/>
            <p:custDataLst>
              <p:tags r:id="rId5"/>
            </p:custDataLst>
          </p:nvPr>
        </p:nvSpPr>
        <p:spPr/>
        <p:txBody>
          <a:bodyPr/>
          <a:lstStyle>
            <a:lvl1pPr algn="l">
              <a:lnSpc>
                <a:spcPct val="114000"/>
              </a:lnSpc>
              <a:defRPr sz="800">
                <a:solidFill>
                  <a:srgbClr val="3C3732"/>
                </a:solidFill>
              </a:defRPr>
            </a:lvl1pPr>
          </a:lstStyle>
          <a:p>
            <a:pPr>
              <a:defRPr/>
            </a:pPr>
            <a:fld id="{18B71D94-711B-4199-B41F-812FCFA1C2B8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66859821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e_1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0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6" name="Obje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3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Image 8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0575" y="4694238"/>
            <a:ext cx="552450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Objet 9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04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8" name="Obje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3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 noProof="0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>
          <a:xfrm>
            <a:off x="539751" y="1743084"/>
            <a:ext cx="3960000" cy="2736851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950914"/>
            <a:ext cx="80645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1" name="Espace réservé pour une image  10"/>
          <p:cNvSpPr>
            <a:spLocks noGrp="1"/>
          </p:cNvSpPr>
          <p:nvPr>
            <p:ph type="pic" sz="quarter" idx="18"/>
          </p:nvPr>
        </p:nvSpPr>
        <p:spPr bwMode="gray">
          <a:xfrm>
            <a:off x="4644250" y="1779591"/>
            <a:ext cx="3960000" cy="2520950"/>
          </a:xfrm>
          <a:prstGeom prst="rect">
            <a:avLst/>
          </a:prstGeom>
          <a:solidFill>
            <a:srgbClr val="D7D7D7"/>
          </a:solidFill>
        </p:spPr>
        <p:txBody>
          <a:bodyPr lIns="359870" tIns="1727374" rIns="359870" rtlCol="0" anchor="ctr">
            <a:normAutofit/>
          </a:bodyPr>
          <a:lstStyle>
            <a:lvl1pPr algn="ctr">
              <a:defRPr sz="1300" b="0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</a:p>
        </p:txBody>
      </p:sp>
      <p:sp>
        <p:nvSpPr>
          <p:cNvPr id="9" name="Espace réservé du pied de page 4"/>
          <p:cNvSpPr>
            <a:spLocks noGrp="1"/>
          </p:cNvSpPr>
          <p:nvPr>
            <p:ph type="ftr" sz="quarter" idx="19"/>
            <p:custDataLst>
              <p:tags r:id="rId4"/>
            </p:custDataLst>
          </p:nvPr>
        </p:nvSpPr>
        <p:spPr/>
        <p:txBody>
          <a:bodyPr/>
          <a:lstStyle>
            <a:lvl1pPr algn="l" defTabSz="914089">
              <a:lnSpc>
                <a:spcPct val="90000"/>
              </a:lnSpc>
              <a:defRPr sz="800" b="0" cap="all" baseline="0">
                <a:solidFill>
                  <a:srgbClr val="A0A0A0"/>
                </a:solidFill>
                <a:latin typeface="Avenir LT Std 65 Medium" pitchFamily="34" charset="0"/>
              </a:defRPr>
            </a:lvl1pPr>
          </a:lstStyle>
          <a:p>
            <a:pPr>
              <a:defRPr/>
            </a:pPr>
            <a:r>
              <a:rPr lang="pt-BR"/>
              <a:t>Offres de solutions IoT</a:t>
            </a:r>
            <a:endParaRPr lang="fr-FR"/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20"/>
            <p:custDataLst>
              <p:tags r:id="rId5"/>
            </p:custDataLst>
          </p:nvPr>
        </p:nvSpPr>
        <p:spPr/>
        <p:txBody>
          <a:bodyPr/>
          <a:lstStyle>
            <a:lvl1pPr algn="l">
              <a:lnSpc>
                <a:spcPct val="114000"/>
              </a:lnSpc>
              <a:defRPr sz="800">
                <a:solidFill>
                  <a:srgbClr val="3C3732"/>
                </a:solidFill>
              </a:defRPr>
            </a:lvl1pPr>
          </a:lstStyle>
          <a:p>
            <a:pPr>
              <a:defRPr/>
            </a:pPr>
            <a:fld id="{EC55924F-3F40-4AB3-B5FA-88AF8F0CB19F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95615880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lIns="68580" tIns="34290" rIns="68580" bIns="34290"/>
          <a:lstStyle/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Offres de solutions IoT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DB09D5-9201-4A93-B6EE-491A8420E75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605096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>
              <a:defRPr b="1">
                <a:latin typeface="Avenir LT Std 65 Medium" pitchFamily="34" charset="0"/>
              </a:defRPr>
            </a:lvl1pPr>
            <a:lvl2pPr>
              <a:spcAft>
                <a:spcPts val="300"/>
              </a:spcAft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51520" y="627582"/>
            <a:ext cx="864096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6956298" y="4807535"/>
            <a:ext cx="1144095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lnSpc>
                <a:spcPct val="114000"/>
              </a:lnSpc>
              <a:defRPr sz="800" cap="all" baseline="0">
                <a:solidFill>
                  <a:schemeClr val="tx1"/>
                </a:solidFill>
              </a:defRPr>
            </a:lvl1pPr>
          </a:lstStyle>
          <a:p>
            <a:fld id="{CAFC0DDF-3ED5-4BF0-BC60-0C331281BABD}" type="datetime2">
              <a:rPr lang="fr-FR" smtClean="0"/>
              <a:t>lundi 17 janvier 2022</a:t>
            </a:fld>
            <a:endParaRPr lang="fr-FR"/>
          </a:p>
        </p:txBody>
      </p:sp>
      <p:sp>
        <p:nvSpPr>
          <p:cNvPr id="12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>
          <a:xfrm>
            <a:off x="294045" y="4832853"/>
            <a:ext cx="131046" cy="142347"/>
          </a:xfrm>
        </p:spPr>
        <p:txBody>
          <a:bodyPr/>
          <a:lstStyle/>
          <a:p>
            <a:fld id="{733122C9-A0B9-462F-8757-0847AD287B6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60677740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e_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1" y="1743074"/>
            <a:ext cx="3960000" cy="2736851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AF0EEB0-8016-4591-BD0A-0BFDA0DC4D62}" type="datetime2">
              <a:rPr lang="fr-FR" smtClean="0"/>
              <a:t>lundi 17 janvier 2022</a:t>
            </a:fld>
            <a:endParaRPr lang="fr-FR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rection Data &amp; IoT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950913"/>
            <a:ext cx="80645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tabLst/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Espace réservé du graphique 14"/>
          <p:cNvSpPr>
            <a:spLocks noGrp="1"/>
          </p:cNvSpPr>
          <p:nvPr>
            <p:ph type="chart" sz="quarter" idx="14" hasCustomPrompt="1"/>
          </p:nvPr>
        </p:nvSpPr>
        <p:spPr bwMode="gray">
          <a:xfrm>
            <a:off x="4644250" y="1779588"/>
            <a:ext cx="3960000" cy="2700337"/>
          </a:xfrm>
        </p:spPr>
        <p:txBody>
          <a:bodyPr tIns="720000" anchor="ctr" anchorCtr="0"/>
          <a:lstStyle>
            <a:lvl1pPr algn="ctr">
              <a:defRPr b="0" cap="all" baseline="0">
                <a:latin typeface="+mn-lt"/>
              </a:defRPr>
            </a:lvl1pPr>
          </a:lstStyle>
          <a:p>
            <a:r>
              <a:rPr lang="fr-FR"/>
              <a:t>GRAPHIQUE</a:t>
            </a:r>
          </a:p>
        </p:txBody>
      </p:sp>
    </p:spTree>
    <p:extLst>
      <p:ext uri="{BB962C8B-B14F-4D97-AF65-F5344CB8AC3E}">
        <p14:creationId xmlns:p14="http://schemas.microsoft.com/office/powerpoint/2010/main" val="3404874233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9" name="Espace réservé de la date 8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305CAB1-F50D-4ABB-9C93-12EA8FFADA73}" type="datetime1">
              <a:rPr lang="fr-FR" smtClean="0"/>
              <a:t>17/01/2022</a:t>
            </a:fld>
            <a:endParaRPr lang="fr-FR"/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34524506-EE12-420B-A129-5AB359C9D9A7}" type="slidenum">
              <a:rPr lang="fr-FR" smtClean="0"/>
              <a:t>‹N°›</a:t>
            </a:fld>
            <a:endParaRPr lang="fr-FR"/>
          </a:p>
        </p:txBody>
      </p:sp>
      <p:sp>
        <p:nvSpPr>
          <p:cNvPr id="12" name="Espace réservé du contenu 11"/>
          <p:cNvSpPr>
            <a:spLocks noGrp="1"/>
          </p:cNvSpPr>
          <p:nvPr>
            <p:ph sz="quarter" idx="13"/>
          </p:nvPr>
        </p:nvSpPr>
        <p:spPr bwMode="gray">
          <a:xfrm>
            <a:off x="515938" y="1113236"/>
            <a:ext cx="8088312" cy="3511153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2864791358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_typ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539753" y="486002"/>
            <a:ext cx="8064499" cy="464913"/>
          </a:xfrm>
        </p:spPr>
        <p:txBody>
          <a:bodyPr/>
          <a:lstStyle>
            <a:lvl1pPr>
              <a:defRPr b="0"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85FC988-5082-4C1D-8980-3DFE03D0D50C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ffusion limitée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39753" y="1267900"/>
            <a:ext cx="4872231" cy="230832"/>
          </a:xfrm>
          <a:solidFill>
            <a:schemeClr val="accent1"/>
          </a:solidFill>
        </p:spPr>
        <p:txBody>
          <a:bodyPr wrap="none" anchor="t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tabLst>
                <a:tab pos="355477" algn="l"/>
              </a:tabLst>
              <a:defRPr sz="1500" b="0" cap="all" baseline="0">
                <a:solidFill>
                  <a:schemeClr val="bg1"/>
                </a:solidFill>
                <a:latin typeface="Avenir LT Std 65 Medium" pitchFamily="34" charset="0"/>
              </a:defRPr>
            </a:lvl1pPr>
          </a:lstStyle>
          <a:p>
            <a:pPr lvl="0"/>
            <a:r>
              <a:rPr lang="fr-FR"/>
              <a:t>01.	Titre partie (tabulation après le chiffre)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/>
          </p:nvPr>
        </p:nvSpPr>
        <p:spPr bwMode="gray">
          <a:xfrm>
            <a:off x="900113" y="1540350"/>
            <a:ext cx="7704137" cy="468000"/>
          </a:xfrm>
        </p:spPr>
        <p:txBody>
          <a:bodyPr/>
          <a:lstStyle>
            <a:lvl1pPr marL="143949" indent="-143949">
              <a:lnSpc>
                <a:spcPct val="90000"/>
              </a:lnSpc>
              <a:spcAft>
                <a:spcPts val="0"/>
              </a:spcAft>
              <a:buFont typeface="Avenir LT Std 45 Book" pitchFamily="34" charset="0"/>
              <a:buChar char="+"/>
              <a:defRPr sz="1500" b="0" cap="all" baseline="0">
                <a:solidFill>
                  <a:schemeClr val="tx1"/>
                </a:solidFill>
                <a:latin typeface="+mn-lt"/>
              </a:defRPr>
            </a:lvl1pPr>
            <a:lvl2pPr marL="143949">
              <a:lnSpc>
                <a:spcPct val="90000"/>
              </a:lnSpc>
              <a:spcAft>
                <a:spcPts val="0"/>
              </a:spcAft>
              <a:defRPr b="0">
                <a:latin typeface="Avenir LT Std 65 Medium" pitchFamily="34" charset="0"/>
              </a:defRPr>
            </a:lvl2pPr>
            <a:lvl3pPr indent="0">
              <a:spcAft>
                <a:spcPts val="0"/>
              </a:spcAft>
              <a:buNone/>
              <a:defRPr b="1"/>
            </a:lvl3pPr>
            <a:lvl4pPr marL="143949" indent="0">
              <a:buNone/>
              <a:defRPr sz="1300" b="1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Espace réservé du texte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9753" y="2057557"/>
            <a:ext cx="4872231" cy="230832"/>
          </a:xfrm>
          <a:solidFill>
            <a:schemeClr val="accent1"/>
          </a:solidFill>
        </p:spPr>
        <p:txBody>
          <a:bodyPr wrap="none" anchor="t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tabLst>
                <a:tab pos="355477" algn="l"/>
              </a:tabLst>
              <a:defRPr sz="1500" b="0" cap="all" baseline="0">
                <a:solidFill>
                  <a:schemeClr val="bg1"/>
                </a:solidFill>
                <a:latin typeface="Avenir LT Std 65 Medium" pitchFamily="34" charset="0"/>
              </a:defRPr>
            </a:lvl1pPr>
          </a:lstStyle>
          <a:p>
            <a:pPr lvl="0"/>
            <a:r>
              <a:rPr lang="fr-FR"/>
              <a:t>01.	Titre partie (tabulation après le chiffre)</a:t>
            </a:r>
          </a:p>
        </p:txBody>
      </p:sp>
      <p:sp>
        <p:nvSpPr>
          <p:cNvPr id="19" name="Espace réservé du texte 11"/>
          <p:cNvSpPr>
            <a:spLocks noGrp="1"/>
          </p:cNvSpPr>
          <p:nvPr>
            <p:ph type="body" sz="quarter" idx="16"/>
          </p:nvPr>
        </p:nvSpPr>
        <p:spPr bwMode="gray">
          <a:xfrm>
            <a:off x="900113" y="2330008"/>
            <a:ext cx="7704137" cy="468000"/>
          </a:xfrm>
        </p:spPr>
        <p:txBody>
          <a:bodyPr/>
          <a:lstStyle>
            <a:lvl1pPr marL="143949" indent="-143949">
              <a:lnSpc>
                <a:spcPct val="90000"/>
              </a:lnSpc>
              <a:spcAft>
                <a:spcPts val="0"/>
              </a:spcAft>
              <a:buFont typeface="Avenir LT Std 45 Book" pitchFamily="34" charset="0"/>
              <a:buChar char="+"/>
              <a:defRPr sz="1500" b="0" cap="all" baseline="0">
                <a:solidFill>
                  <a:schemeClr val="tx1"/>
                </a:solidFill>
                <a:latin typeface="+mn-lt"/>
              </a:defRPr>
            </a:lvl1pPr>
            <a:lvl2pPr marL="143949">
              <a:lnSpc>
                <a:spcPct val="90000"/>
              </a:lnSpc>
              <a:spcAft>
                <a:spcPts val="0"/>
              </a:spcAft>
              <a:defRPr b="0">
                <a:latin typeface="Avenir LT Std 65 Medium" pitchFamily="34" charset="0"/>
              </a:defRPr>
            </a:lvl2pPr>
            <a:lvl3pPr indent="0">
              <a:spcAft>
                <a:spcPts val="0"/>
              </a:spcAft>
              <a:buNone/>
              <a:defRPr/>
            </a:lvl3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0" name="Espace réservé du texte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39753" y="2851749"/>
            <a:ext cx="4872231" cy="230832"/>
          </a:xfrm>
          <a:solidFill>
            <a:schemeClr val="accent1"/>
          </a:solidFill>
        </p:spPr>
        <p:txBody>
          <a:bodyPr wrap="none" anchor="t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tabLst>
                <a:tab pos="355477" algn="l"/>
              </a:tabLst>
              <a:defRPr sz="1500" b="0" cap="all" baseline="0">
                <a:solidFill>
                  <a:schemeClr val="bg1"/>
                </a:solidFill>
                <a:latin typeface="Avenir LT Std 65 Medium" pitchFamily="34" charset="0"/>
              </a:defRPr>
            </a:lvl1pPr>
          </a:lstStyle>
          <a:p>
            <a:pPr lvl="0"/>
            <a:r>
              <a:rPr lang="fr-FR"/>
              <a:t>01.	Titre partie (tabulation après le chiffre)</a:t>
            </a:r>
          </a:p>
        </p:txBody>
      </p:sp>
      <p:sp>
        <p:nvSpPr>
          <p:cNvPr id="21" name="Espace réservé du texte 11"/>
          <p:cNvSpPr>
            <a:spLocks noGrp="1"/>
          </p:cNvSpPr>
          <p:nvPr>
            <p:ph type="body" sz="quarter" idx="18"/>
          </p:nvPr>
        </p:nvSpPr>
        <p:spPr bwMode="gray">
          <a:xfrm>
            <a:off x="900113" y="3124201"/>
            <a:ext cx="7704137" cy="468000"/>
          </a:xfrm>
        </p:spPr>
        <p:txBody>
          <a:bodyPr/>
          <a:lstStyle>
            <a:lvl1pPr marL="143949" indent="-143949">
              <a:lnSpc>
                <a:spcPct val="90000"/>
              </a:lnSpc>
              <a:spcAft>
                <a:spcPts val="0"/>
              </a:spcAft>
              <a:buFont typeface="Avenir LT Std 45 Book" pitchFamily="34" charset="0"/>
              <a:buChar char="+"/>
              <a:defRPr sz="1500" b="0" cap="all" baseline="0">
                <a:solidFill>
                  <a:schemeClr val="tx1"/>
                </a:solidFill>
                <a:latin typeface="+mn-lt"/>
              </a:defRPr>
            </a:lvl1pPr>
            <a:lvl2pPr marL="143949">
              <a:lnSpc>
                <a:spcPct val="90000"/>
              </a:lnSpc>
              <a:spcAft>
                <a:spcPts val="0"/>
              </a:spcAft>
              <a:defRPr b="0">
                <a:latin typeface="Avenir LT Std 65 Medium" pitchFamily="34" charset="0"/>
              </a:defRPr>
            </a:lvl2pPr>
            <a:lvl3pPr indent="0">
              <a:spcAft>
                <a:spcPts val="0"/>
              </a:spcAft>
              <a:buNone/>
              <a:defRPr/>
            </a:lvl3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2" name="Espace réservé du texte 1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39753" y="3652189"/>
            <a:ext cx="4872231" cy="230832"/>
          </a:xfrm>
          <a:solidFill>
            <a:schemeClr val="accent1"/>
          </a:solidFill>
        </p:spPr>
        <p:txBody>
          <a:bodyPr wrap="none" anchor="t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tabLst>
                <a:tab pos="355477" algn="l"/>
              </a:tabLst>
              <a:defRPr sz="1500" b="0" cap="all" baseline="0">
                <a:solidFill>
                  <a:schemeClr val="bg1"/>
                </a:solidFill>
                <a:latin typeface="Avenir LT Std 65 Medium" pitchFamily="34" charset="0"/>
              </a:defRPr>
            </a:lvl1pPr>
          </a:lstStyle>
          <a:p>
            <a:pPr lvl="0"/>
            <a:r>
              <a:rPr lang="fr-FR"/>
              <a:t>01.	Titre partie (tabulation après le chiffre)</a:t>
            </a:r>
          </a:p>
        </p:txBody>
      </p:sp>
      <p:sp>
        <p:nvSpPr>
          <p:cNvPr id="23" name="Espace réservé du texte 11"/>
          <p:cNvSpPr>
            <a:spLocks noGrp="1"/>
          </p:cNvSpPr>
          <p:nvPr>
            <p:ph type="body" sz="quarter" idx="20"/>
          </p:nvPr>
        </p:nvSpPr>
        <p:spPr bwMode="gray">
          <a:xfrm>
            <a:off x="900113" y="3924640"/>
            <a:ext cx="7704137" cy="468000"/>
          </a:xfrm>
        </p:spPr>
        <p:txBody>
          <a:bodyPr/>
          <a:lstStyle>
            <a:lvl1pPr marL="143949" indent="-143949">
              <a:lnSpc>
                <a:spcPct val="90000"/>
              </a:lnSpc>
              <a:spcAft>
                <a:spcPts val="0"/>
              </a:spcAft>
              <a:buFont typeface="Avenir LT Std 45 Book" pitchFamily="34" charset="0"/>
              <a:buChar char="+"/>
              <a:defRPr sz="1500" b="0" cap="all" baseline="0">
                <a:solidFill>
                  <a:schemeClr val="tx1"/>
                </a:solidFill>
                <a:latin typeface="+mn-lt"/>
              </a:defRPr>
            </a:lvl1pPr>
            <a:lvl2pPr marL="143949">
              <a:lnSpc>
                <a:spcPct val="90000"/>
              </a:lnSpc>
              <a:spcAft>
                <a:spcPts val="0"/>
              </a:spcAft>
              <a:defRPr b="0">
                <a:latin typeface="Avenir LT Std 65 Medium" pitchFamily="34" charset="0"/>
              </a:defRPr>
            </a:lvl2pPr>
            <a:lvl3pPr indent="0">
              <a:spcAft>
                <a:spcPts val="0"/>
              </a:spcAft>
              <a:buNone/>
              <a:defRPr/>
            </a:lvl3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951505493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_typ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539754" y="486002"/>
            <a:ext cx="8064499" cy="464913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F46C66C-901C-4368-B080-329DBABB2F6D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ffusion limité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3"/>
          </p:nvPr>
        </p:nvSpPr>
        <p:spPr bwMode="gray">
          <a:xfrm>
            <a:off x="539754" y="1276353"/>
            <a:ext cx="8064499" cy="3203575"/>
          </a:xfrm>
        </p:spPr>
        <p:txBody>
          <a:bodyPr/>
          <a:lstStyle>
            <a:lvl1pPr>
              <a:spcBef>
                <a:spcPts val="1400"/>
              </a:spcBef>
              <a:spcAft>
                <a:spcPts val="500"/>
              </a:spcAft>
              <a:defRPr sz="1500" b="0" cap="all" baseline="0">
                <a:solidFill>
                  <a:schemeClr val="tx2"/>
                </a:solidFill>
                <a:latin typeface="Avenir LT Std 65 Medium" pitchFamily="34" charset="0"/>
              </a:defRPr>
            </a:lvl1pPr>
            <a:lvl2pPr>
              <a:lnSpc>
                <a:spcPct val="90000"/>
              </a:lnSpc>
              <a:spcAft>
                <a:spcPts val="0"/>
              </a:spcAft>
              <a:defRPr sz="1500" cap="all" baseline="0">
                <a:latin typeface="Avenir LT Std 55 Roman" pitchFamily="34" charset="0"/>
              </a:defRPr>
            </a:lvl2pPr>
            <a:lvl3pPr marL="0" indent="0">
              <a:lnSpc>
                <a:spcPct val="90000"/>
              </a:lnSpc>
              <a:spcAft>
                <a:spcPts val="0"/>
              </a:spcAft>
              <a:buNone/>
              <a:defRPr sz="1500" cap="all" baseline="0"/>
            </a:lvl3pPr>
            <a:lvl4pPr marL="0" indent="0">
              <a:lnSpc>
                <a:spcPct val="90000"/>
              </a:lnSpc>
              <a:spcAft>
                <a:spcPts val="0"/>
              </a:spcAft>
              <a:buNone/>
              <a:defRPr sz="1500" cap="all" baseline="0"/>
            </a:lvl4pPr>
            <a:lvl5pPr marL="0" indent="0">
              <a:lnSpc>
                <a:spcPct val="90000"/>
              </a:lnSpc>
              <a:spcAft>
                <a:spcPts val="0"/>
              </a:spcAft>
              <a:defRPr sz="1500" cap="all" baseline="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230418608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 bwMode="gray">
          <a:xfrm>
            <a:off x="179390" y="179388"/>
            <a:ext cx="8785225" cy="352901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0" tIns="45703" rIns="91410" bIns="45703" rtlCol="0" anchor="ctr"/>
          <a:lstStyle/>
          <a:p>
            <a:pPr algn="ctr" defTabSz="914088"/>
            <a:endParaRPr lang="fr-FR">
              <a:solidFill>
                <a:prstClr val="white"/>
              </a:solidFill>
            </a:endParaRP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781FCE6-81AF-4C2C-8131-CAC6DDDBDC7F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ffusion limitée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267495"/>
            <a:ext cx="8064500" cy="1931604"/>
          </a:xfrm>
        </p:spPr>
        <p:txBody>
          <a:bodyPr anchor="b" anchorCtr="0"/>
          <a:lstStyle>
            <a:lvl1pPr>
              <a:lnSpc>
                <a:spcPct val="90000"/>
              </a:lnSpc>
              <a:spcAft>
                <a:spcPts val="0"/>
              </a:spcAft>
              <a:defRPr sz="5000" b="0" kern="1200" cap="all" baseline="0">
                <a:solidFill>
                  <a:schemeClr val="bg1"/>
                </a:solidFill>
                <a:latin typeface="Avenir LT Std 65 Medium" pitchFamily="34" charset="0"/>
              </a:defRPr>
            </a:lvl1pPr>
            <a:lvl2pPr>
              <a:lnSpc>
                <a:spcPct val="90000"/>
              </a:lnSpc>
              <a:spcAft>
                <a:spcPts val="0"/>
              </a:spcAft>
              <a:defRPr sz="3500" cap="all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4"/>
          </p:nvPr>
        </p:nvSpPr>
        <p:spPr bwMode="gray">
          <a:xfrm>
            <a:off x="539750" y="2344180"/>
            <a:ext cx="8064500" cy="1350000"/>
          </a:xfrm>
        </p:spPr>
        <p:txBody>
          <a:bodyPr/>
          <a:lstStyle>
            <a:lvl1pPr marL="179939" indent="-179939">
              <a:lnSpc>
                <a:spcPct val="90000"/>
              </a:lnSpc>
              <a:spcAft>
                <a:spcPts val="0"/>
              </a:spcAft>
              <a:buFont typeface="Arial" pitchFamily="34" charset="0"/>
              <a:buChar char="+"/>
              <a:defRPr sz="1600" b="0" cap="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166688456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us_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gray">
          <a:xfrm>
            <a:off x="179391" y="179388"/>
            <a:ext cx="8785225" cy="3529012"/>
          </a:xfrm>
          <a:prstGeom prst="rect">
            <a:avLst/>
          </a:prstGeom>
          <a:solidFill>
            <a:srgbClr val="D7D7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0" tIns="45703" rIns="91410" bIns="45703" rtlCol="0" anchor="ctr"/>
          <a:lstStyle/>
          <a:p>
            <a:pPr algn="ctr" defTabSz="914088"/>
            <a:endParaRPr lang="fr-FR">
              <a:solidFill>
                <a:prstClr val="white"/>
              </a:solidFill>
            </a:endParaRP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3866B60-CFE4-4FF8-B7E5-B770083D8607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ffusion limitée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1669456"/>
            <a:ext cx="5860322" cy="230832"/>
          </a:xfrm>
          <a:solidFill>
            <a:schemeClr val="tx2"/>
          </a:solidFill>
        </p:spPr>
        <p:txBody>
          <a:bodyPr wrap="none" anchor="ctr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500" b="0" kern="1200" cap="all" baseline="0">
                <a:solidFill>
                  <a:schemeClr val="bg1"/>
                </a:solidFill>
                <a:latin typeface="Avenir LT Std 65 Medium" pitchFamily="34" charset="0"/>
              </a:defRPr>
            </a:lvl1pPr>
            <a:lvl2pPr>
              <a:lnSpc>
                <a:spcPct val="90000"/>
              </a:lnSpc>
              <a:defRPr sz="3500" cap="all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4"/>
          </p:nvPr>
        </p:nvSpPr>
        <p:spPr bwMode="gray">
          <a:xfrm>
            <a:off x="539750" y="1947070"/>
            <a:ext cx="8064500" cy="1350000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3500" b="0" cap="all" baseline="0">
                <a:solidFill>
                  <a:schemeClr val="tx2"/>
                </a:solidFill>
                <a:latin typeface="Avenir LT Std 65 Medium" pitchFamily="34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4" name="Espace réservé du texte 11"/>
          <p:cNvSpPr>
            <a:spLocks noGrp="1"/>
          </p:cNvSpPr>
          <p:nvPr>
            <p:ph type="body" sz="quarter" idx="15"/>
          </p:nvPr>
        </p:nvSpPr>
        <p:spPr bwMode="gray">
          <a:xfrm>
            <a:off x="539750" y="1438623"/>
            <a:ext cx="5860322" cy="230832"/>
          </a:xfrm>
          <a:solidFill>
            <a:schemeClr val="tx2"/>
          </a:solidFill>
        </p:spPr>
        <p:txBody>
          <a:bodyPr wrap="none" anchor="ctr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500" b="0" kern="1200" cap="all" baseline="0">
                <a:solidFill>
                  <a:schemeClr val="bg1"/>
                </a:solidFill>
                <a:latin typeface="Avenir LT Std 65 Medium" pitchFamily="34" charset="0"/>
              </a:defRPr>
            </a:lvl1pPr>
            <a:lvl2pPr>
              <a:lnSpc>
                <a:spcPct val="90000"/>
              </a:lnSpc>
              <a:defRPr sz="3500" cap="all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617400991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croche_visu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texte 14"/>
          <p:cNvSpPr>
            <a:spLocks noGrp="1"/>
          </p:cNvSpPr>
          <p:nvPr>
            <p:ph type="body" sz="quarter" idx="19"/>
          </p:nvPr>
        </p:nvSpPr>
        <p:spPr bwMode="gray">
          <a:xfrm>
            <a:off x="539750" y="633882"/>
            <a:ext cx="8064500" cy="3600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4500" b="0" cap="all" baseline="0">
                <a:latin typeface="+mj-lt"/>
              </a:defRPr>
            </a:lvl1pPr>
            <a:lvl2pPr>
              <a:lnSpc>
                <a:spcPct val="90000"/>
              </a:lnSpc>
              <a:spcBef>
                <a:spcPts val="1500"/>
              </a:spcBef>
              <a:spcAft>
                <a:spcPts val="0"/>
              </a:spcAft>
              <a:defRPr sz="1500" b="0" cap="all" baseline="0">
                <a:solidFill>
                  <a:srgbClr val="747678"/>
                </a:solidFill>
                <a:latin typeface="+mn-lt"/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2" name="Espace réservé pour une image  10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179388" y="179387"/>
            <a:ext cx="8785224" cy="4140000"/>
          </a:xfrm>
          <a:prstGeom prst="rect">
            <a:avLst/>
          </a:prstGeom>
          <a:solidFill>
            <a:srgbClr val="D7D7D7"/>
          </a:solidFill>
        </p:spPr>
        <p:txBody>
          <a:bodyPr lIns="719754" tIns="1259570" rIns="719754" anchor="ctr" anchorCtr="0"/>
          <a:lstStyle>
            <a:lvl1pPr algn="ctr">
              <a:defRPr sz="1300" b="0" cap="all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fr-FR"/>
              <a:t>Sélectionner l’icône pour insérer une image (format 244 x 115 mm), puis disposer l’image en arrière plan (Sélectionner l’image avec le bouton droit de la souris / Mettre à l’arrière plan). Lorsque l’image est en arrière plan, le titre apparaît.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32E6B4F-E26E-4B81-A66F-A729DF8F3023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ffusion limitée</a:t>
            </a:r>
          </a:p>
        </p:txBody>
      </p:sp>
    </p:spTree>
    <p:extLst>
      <p:ext uri="{BB962C8B-B14F-4D97-AF65-F5344CB8AC3E}">
        <p14:creationId xmlns:p14="http://schemas.microsoft.com/office/powerpoint/2010/main" val="2703931879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croche_visuel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PPT_Packshot_244x130,5_01.jpg"/>
          <p:cNvPicPr preferRelativeResize="0">
            <a:picLocks/>
          </p:cNvPicPr>
          <p:nvPr userDrawn="1"/>
        </p:nvPicPr>
        <p:blipFill>
          <a:blip r:embed="rId2" cstate="print"/>
          <a:stretch>
            <a:fillRect/>
          </a:stretch>
        </p:blipFill>
        <p:spPr bwMode="gray">
          <a:xfrm>
            <a:off x="179391" y="180311"/>
            <a:ext cx="8782157" cy="4138157"/>
          </a:xfrm>
          <a:prstGeom prst="rect">
            <a:avLst/>
          </a:prstGeom>
        </p:spPr>
      </p:pic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83187DF-8A7D-4C8F-A086-CEF60B2314B0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ffusion limitée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9"/>
          </p:nvPr>
        </p:nvSpPr>
        <p:spPr bwMode="gray">
          <a:xfrm>
            <a:off x="539750" y="633883"/>
            <a:ext cx="8064500" cy="3600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4500" b="0" cap="all" baseline="0">
                <a:solidFill>
                  <a:schemeClr val="tx2"/>
                </a:solidFill>
                <a:latin typeface="+mj-lt"/>
              </a:defRPr>
            </a:lvl1pPr>
            <a:lvl2pPr>
              <a:lnSpc>
                <a:spcPct val="90000"/>
              </a:lnSpc>
              <a:spcBef>
                <a:spcPts val="1500"/>
              </a:spcBef>
              <a:spcAft>
                <a:spcPts val="0"/>
              </a:spcAft>
              <a:defRPr sz="1500" cap="all" baseline="0">
                <a:solidFill>
                  <a:srgbClr val="747678"/>
                </a:solidFill>
                <a:latin typeface="+mn-lt"/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150024860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croche_visuel_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PPT_Packshot_244x130,5_01.jpg"/>
          <p:cNvPicPr preferRelativeResize="0">
            <a:picLocks/>
          </p:cNvPicPr>
          <p:nvPr userDrawn="1"/>
        </p:nvPicPr>
        <p:blipFill>
          <a:blip r:embed="rId2" cstate="print"/>
          <a:stretch>
            <a:fillRect/>
          </a:stretch>
        </p:blipFill>
        <p:spPr bwMode="gray">
          <a:xfrm>
            <a:off x="179388" y="180311"/>
            <a:ext cx="8782156" cy="4138157"/>
          </a:xfrm>
          <a:prstGeom prst="rect">
            <a:avLst/>
          </a:prstGeom>
        </p:spPr>
      </p:pic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DC0F2F9-C36A-4839-8012-0486BECB2092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ffusion limitée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9"/>
          </p:nvPr>
        </p:nvSpPr>
        <p:spPr bwMode="gray">
          <a:xfrm>
            <a:off x="539750" y="633883"/>
            <a:ext cx="8064500" cy="3600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4500" b="0" cap="all" baseline="0">
                <a:solidFill>
                  <a:schemeClr val="tx2"/>
                </a:solidFill>
                <a:latin typeface="+mj-lt"/>
              </a:defRPr>
            </a:lvl1pPr>
            <a:lvl2pPr>
              <a:lnSpc>
                <a:spcPct val="90000"/>
              </a:lnSpc>
              <a:spcBef>
                <a:spcPts val="1500"/>
              </a:spcBef>
              <a:spcAft>
                <a:spcPts val="0"/>
              </a:spcAft>
              <a:defRPr sz="1500" cap="all" baseline="0">
                <a:solidFill>
                  <a:srgbClr val="747678"/>
                </a:solidFill>
                <a:latin typeface="+mn-lt"/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382665821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_2_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1" y="1743077"/>
            <a:ext cx="3960000" cy="273685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D7E50E8-4C48-41E3-8EBF-46BBAFB603B7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ffusion limitée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950913"/>
            <a:ext cx="80645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2" name="Espace réservé du contenu 2"/>
          <p:cNvSpPr>
            <a:spLocks noGrp="1"/>
          </p:cNvSpPr>
          <p:nvPr>
            <p:ph idx="19" hasCustomPrompt="1"/>
          </p:nvPr>
        </p:nvSpPr>
        <p:spPr bwMode="gray">
          <a:xfrm>
            <a:off x="4644250" y="1743077"/>
            <a:ext cx="3960000" cy="273685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</p:spTree>
    <p:extLst>
      <p:ext uri="{BB962C8B-B14F-4D97-AF65-F5344CB8AC3E}">
        <p14:creationId xmlns:p14="http://schemas.microsoft.com/office/powerpoint/2010/main" val="603732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 bwMode="gray">
          <a:xfrm>
            <a:off x="179391" y="179388"/>
            <a:ext cx="8785225" cy="352901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7" tIns="45720" rIns="91437" bIns="45720" rtlCol="0" anchor="ctr"/>
          <a:lstStyle/>
          <a:p>
            <a:pPr algn="ctr" defTabSz="914368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611559" y="4813200"/>
            <a:ext cx="7597404" cy="162000"/>
          </a:xfrm>
          <a:prstGeom prst="rect">
            <a:avLst/>
          </a:prstGeom>
        </p:spPr>
        <p:txBody>
          <a:bodyPr anchor="ctr"/>
          <a:lstStyle/>
          <a:p>
            <a:pPr defTabSz="914368"/>
            <a:r>
              <a:rPr lang="fr-FR" sz="1800">
                <a:solidFill>
                  <a:srgbClr val="3C3732"/>
                </a:solidFill>
              </a:rPr>
              <a:t>mardi 27 janvier 2015</a:t>
            </a: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>
          <a:xfrm>
            <a:off x="179387" y="4813200"/>
            <a:ext cx="360363" cy="162000"/>
          </a:xfrm>
          <a:prstGeom prst="rect">
            <a:avLst/>
          </a:prstGeom>
        </p:spPr>
        <p:txBody>
          <a:bodyPr anchor="ctr"/>
          <a:lstStyle/>
          <a:p>
            <a:pPr defTabSz="914368"/>
            <a:fld id="{733122C9-A0B9-462F-8757-0847AD287B63}" type="slidenum">
              <a:rPr lang="fr-FR" sz="1800" smtClean="0">
                <a:solidFill>
                  <a:srgbClr val="3C3732"/>
                </a:solidFill>
              </a:rPr>
              <a:pPr defTabSz="914368"/>
              <a:t>‹N°›</a:t>
            </a:fld>
            <a:endParaRPr lang="fr-FR" sz="1800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179390" y="4635602"/>
            <a:ext cx="8029575" cy="162018"/>
          </a:xfrm>
          <a:prstGeom prst="rect">
            <a:avLst/>
          </a:prstGeom>
        </p:spPr>
        <p:txBody>
          <a:bodyPr/>
          <a:lstStyle/>
          <a:p>
            <a:pPr defTabSz="914368"/>
            <a:r>
              <a:rPr lang="fr-FR" sz="1800">
                <a:solidFill>
                  <a:srgbClr val="3C3732"/>
                </a:solidFill>
              </a:rPr>
              <a:t>Flash Report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3"/>
          </p:nvPr>
        </p:nvSpPr>
        <p:spPr bwMode="gray">
          <a:xfrm>
            <a:off x="539752" y="267496"/>
            <a:ext cx="8064500" cy="1931604"/>
          </a:xfrm>
        </p:spPr>
        <p:txBody>
          <a:bodyPr anchor="b" anchorCtr="0"/>
          <a:lstStyle>
            <a:lvl1pPr>
              <a:lnSpc>
                <a:spcPct val="90000"/>
              </a:lnSpc>
              <a:spcAft>
                <a:spcPts val="0"/>
              </a:spcAft>
              <a:defRPr sz="5000" b="0" kern="1200" cap="all" baseline="0">
                <a:solidFill>
                  <a:schemeClr val="bg1"/>
                </a:solidFill>
                <a:latin typeface="Avenir LT Std 65 Medium" pitchFamily="34" charset="0"/>
              </a:defRPr>
            </a:lvl1pPr>
            <a:lvl2pPr>
              <a:lnSpc>
                <a:spcPct val="90000"/>
              </a:lnSpc>
              <a:spcAft>
                <a:spcPts val="0"/>
              </a:spcAft>
              <a:defRPr sz="3500" cap="all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4"/>
          </p:nvPr>
        </p:nvSpPr>
        <p:spPr bwMode="gray">
          <a:xfrm>
            <a:off x="539752" y="2344180"/>
            <a:ext cx="8064500" cy="1350000"/>
          </a:xfrm>
        </p:spPr>
        <p:txBody>
          <a:bodyPr/>
          <a:lstStyle>
            <a:lvl1pPr marL="179994" indent="-179994">
              <a:lnSpc>
                <a:spcPct val="90000"/>
              </a:lnSpc>
              <a:spcAft>
                <a:spcPts val="0"/>
              </a:spcAft>
              <a:buFont typeface="Arial" pitchFamily="34" charset="0"/>
              <a:buChar char="+"/>
              <a:defRPr sz="1600" b="0" cap="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993890885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1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1" y="1743077"/>
            <a:ext cx="3960000" cy="273685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31A32C5-A63A-45F3-B529-AAFD91B0C54A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ffusion limitée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950913"/>
            <a:ext cx="80645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1" name="Espace réservé pour une image  10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644250" y="1779589"/>
            <a:ext cx="3960000" cy="2520950"/>
          </a:xfrm>
          <a:prstGeom prst="rect">
            <a:avLst/>
          </a:prstGeom>
          <a:solidFill>
            <a:srgbClr val="D7D7D7"/>
          </a:solidFill>
        </p:spPr>
        <p:txBody>
          <a:bodyPr lIns="359877" tIns="1727409" rIns="359877" anchor="ctr" anchorCtr="0"/>
          <a:lstStyle>
            <a:lvl1pPr algn="ctr">
              <a:defRPr sz="1300" b="0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fr-FR"/>
              <a:t>Sélectionner l’icône pour insérer une image (format 110 x 70 mm)</a:t>
            </a:r>
          </a:p>
        </p:txBody>
      </p:sp>
    </p:spTree>
    <p:extLst>
      <p:ext uri="{BB962C8B-B14F-4D97-AF65-F5344CB8AC3E}">
        <p14:creationId xmlns:p14="http://schemas.microsoft.com/office/powerpoint/2010/main" val="1508754658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4" y="1743075"/>
            <a:ext cx="8064499" cy="1665768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EE55F2C-0D7B-4522-8F1E-D70137D6D403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ffusion limitée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950913"/>
            <a:ext cx="80645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tabLst/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1" name="Espace réservé du texte 13"/>
          <p:cNvSpPr>
            <a:spLocks noGrp="1"/>
          </p:cNvSpPr>
          <p:nvPr>
            <p:ph type="body" sz="quarter" idx="14"/>
          </p:nvPr>
        </p:nvSpPr>
        <p:spPr bwMode="gray">
          <a:xfrm>
            <a:off x="539750" y="3531249"/>
            <a:ext cx="4824000" cy="515877"/>
          </a:xfrm>
          <a:solidFill>
            <a:srgbClr val="D7D7D7"/>
          </a:solidFill>
          <a:ln w="82550">
            <a:solidFill>
              <a:srgbClr val="D7D7D7"/>
            </a:solidFill>
            <a:miter lim="800000"/>
          </a:ln>
        </p:spPr>
        <p:txBody>
          <a:bodyPr tIns="35988" bIns="35988">
            <a:sp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1600" b="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853438745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1" y="1743077"/>
            <a:ext cx="3960000" cy="2736851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FB5F302-5D25-4294-AFE4-8D9A255944CE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ffusion limitée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950913"/>
            <a:ext cx="80645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tabLst/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Espace réservé du graphique 14"/>
          <p:cNvSpPr>
            <a:spLocks noGrp="1"/>
          </p:cNvSpPr>
          <p:nvPr>
            <p:ph type="chart" sz="quarter" idx="14" hasCustomPrompt="1"/>
          </p:nvPr>
        </p:nvSpPr>
        <p:spPr bwMode="gray">
          <a:xfrm>
            <a:off x="4644250" y="1779591"/>
            <a:ext cx="3960000" cy="2700337"/>
          </a:xfrm>
        </p:spPr>
        <p:txBody>
          <a:bodyPr tIns="719754" anchor="ctr" anchorCtr="0"/>
          <a:lstStyle>
            <a:lvl1pPr algn="ctr">
              <a:defRPr b="0" cap="all" baseline="0">
                <a:latin typeface="+mn-lt"/>
              </a:defRPr>
            </a:lvl1pPr>
          </a:lstStyle>
          <a:p>
            <a:r>
              <a:rPr lang="fr-FR"/>
              <a:t>GRAPHIQUE</a:t>
            </a:r>
          </a:p>
        </p:txBody>
      </p:sp>
    </p:spTree>
    <p:extLst>
      <p:ext uri="{BB962C8B-B14F-4D97-AF65-F5344CB8AC3E}">
        <p14:creationId xmlns:p14="http://schemas.microsoft.com/office/powerpoint/2010/main" val="3327582474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_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586" name="Diapositive think-cell" r:id="rId4" imgW="416" imgH="416" progId="TCLayout.ActiveDocument.1">
                  <p:embed/>
                </p:oleObj>
              </mc:Choice>
              <mc:Fallback>
                <p:oleObj name="Diapositive think-cell" r:id="rId4" imgW="416" imgH="416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5940FAD-F412-462B-B6D0-7C7DF413A9D5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ffusion limitée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950913"/>
            <a:ext cx="80645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Espace réservé du graphique 14"/>
          <p:cNvSpPr>
            <a:spLocks noGrp="1"/>
          </p:cNvSpPr>
          <p:nvPr>
            <p:ph type="chart" sz="quarter" idx="14" hasCustomPrompt="1"/>
          </p:nvPr>
        </p:nvSpPr>
        <p:spPr bwMode="gray">
          <a:xfrm>
            <a:off x="539750" y="1779591"/>
            <a:ext cx="8064500" cy="2700337"/>
          </a:xfrm>
        </p:spPr>
        <p:txBody>
          <a:bodyPr tIns="719754" anchor="ctr" anchorCtr="0"/>
          <a:lstStyle>
            <a:lvl1pPr algn="ctr">
              <a:defRPr b="0" cap="all" baseline="0">
                <a:latin typeface="+mn-lt"/>
              </a:defRPr>
            </a:lvl1pPr>
          </a:lstStyle>
          <a:p>
            <a:r>
              <a:rPr lang="fr-FR"/>
              <a:t>GRAPHIQUE</a:t>
            </a:r>
          </a:p>
        </p:txBody>
      </p:sp>
    </p:spTree>
    <p:extLst>
      <p:ext uri="{BB962C8B-B14F-4D97-AF65-F5344CB8AC3E}">
        <p14:creationId xmlns:p14="http://schemas.microsoft.com/office/powerpoint/2010/main" val="627350716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_graphique_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graphique 14"/>
          <p:cNvSpPr>
            <a:spLocks noGrp="1"/>
          </p:cNvSpPr>
          <p:nvPr>
            <p:ph type="chart" sz="quarter" idx="14" hasCustomPrompt="1"/>
          </p:nvPr>
        </p:nvSpPr>
        <p:spPr bwMode="gray">
          <a:xfrm>
            <a:off x="539750" y="1779591"/>
            <a:ext cx="8064500" cy="2700337"/>
          </a:xfrm>
        </p:spPr>
        <p:txBody>
          <a:bodyPr tIns="719754" anchor="ctr" anchorCtr="0"/>
          <a:lstStyle>
            <a:lvl1pPr algn="ctr">
              <a:defRPr b="0" cap="all" baseline="0">
                <a:latin typeface="+mn-lt"/>
              </a:defRPr>
            </a:lvl1pPr>
          </a:lstStyle>
          <a:p>
            <a:r>
              <a:rPr lang="fr-FR"/>
              <a:t>GRAPHIQU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A889362-2605-407D-A484-1187C6DF135B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ffusion limitée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950913"/>
            <a:ext cx="80645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5"/>
          </p:nvPr>
        </p:nvSpPr>
        <p:spPr bwMode="gray">
          <a:xfrm>
            <a:off x="5652123" y="1743077"/>
            <a:ext cx="2952131" cy="190857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78678480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_tableau_typ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28115C0-C5BD-4E81-8D57-1DCD453F90A2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ffusion limitée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950913"/>
            <a:ext cx="80645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du tableau 12"/>
          <p:cNvSpPr>
            <a:spLocks noGrp="1"/>
          </p:cNvSpPr>
          <p:nvPr>
            <p:ph type="tbl" sz="quarter" idx="14"/>
          </p:nvPr>
        </p:nvSpPr>
        <p:spPr bwMode="gray">
          <a:xfrm>
            <a:off x="539754" y="1779588"/>
            <a:ext cx="8064499" cy="2340000"/>
          </a:xfrm>
        </p:spPr>
        <p:txBody>
          <a:bodyPr tIns="719754" anchor="ctr" anchorCtr="0"/>
          <a:lstStyle>
            <a:lvl1pPr algn="ctr">
              <a:spcAft>
                <a:spcPts val="0"/>
              </a:spcAft>
              <a:defRPr b="0" cap="all" baseline="0"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987674" y="4146620"/>
            <a:ext cx="900000" cy="216000"/>
          </a:xfr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8" name="Espace réservé du texte 16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807804" y="4209318"/>
            <a:ext cx="93600" cy="93600"/>
          </a:xfrm>
          <a:prstGeom prst="ellipse">
            <a:avLst/>
          </a:prstGeom>
          <a:solidFill>
            <a:schemeClr val="accent1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9" name="Espace réservé du texte 16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166818" y="4146620"/>
            <a:ext cx="900000" cy="216000"/>
          </a:xfr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0" name="Espace réservé du texte 1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986948" y="4209318"/>
            <a:ext cx="93600" cy="93600"/>
          </a:xfrm>
          <a:prstGeom prst="ellipse">
            <a:avLst/>
          </a:prstGeom>
          <a:solidFill>
            <a:schemeClr val="accent2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1" name="Espace réservé du texte 16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345962" y="4146620"/>
            <a:ext cx="900000" cy="216000"/>
          </a:xfr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2" name="Espace réservé du texte 1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166092" y="4209318"/>
            <a:ext cx="93600" cy="93600"/>
          </a:xfrm>
          <a:prstGeom prst="ellipse">
            <a:avLst/>
          </a:prstGeom>
          <a:solidFill>
            <a:schemeClr val="accent4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3" name="Espace réservé du texte 16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525106" y="4146620"/>
            <a:ext cx="900000" cy="216000"/>
          </a:xfr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4" name="Espace réservé du texte 16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345236" y="4209318"/>
            <a:ext cx="93600" cy="93600"/>
          </a:xfrm>
          <a:prstGeom prst="ellipse">
            <a:avLst/>
          </a:prstGeom>
          <a:solidFill>
            <a:schemeClr val="accent5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5" name="Espace réservé du texte 16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704250" y="4146620"/>
            <a:ext cx="900000" cy="216000"/>
          </a:xfr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6" name="Espace réservé du texte 16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7524380" y="4209318"/>
            <a:ext cx="93600" cy="93600"/>
          </a:xfrm>
          <a:prstGeom prst="ellipse">
            <a:avLst/>
          </a:prstGeom>
          <a:solidFill>
            <a:schemeClr val="bg2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68448146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_tableau_typ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DAADF94-E70C-42EF-87F3-713FE0FDFB72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ffusion limitée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950913"/>
            <a:ext cx="80645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tabLst/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du tableau 12"/>
          <p:cNvSpPr>
            <a:spLocks noGrp="1"/>
          </p:cNvSpPr>
          <p:nvPr>
            <p:ph type="tbl" sz="quarter" idx="14"/>
          </p:nvPr>
        </p:nvSpPr>
        <p:spPr bwMode="gray">
          <a:xfrm>
            <a:off x="539753" y="1779588"/>
            <a:ext cx="8064499" cy="2160000"/>
          </a:xfrm>
        </p:spPr>
        <p:txBody>
          <a:bodyPr tIns="719754" anchor="ctr" anchorCtr="0"/>
          <a:lstStyle>
            <a:lvl1pPr algn="ctr">
              <a:spcAft>
                <a:spcPts val="0"/>
              </a:spcAft>
              <a:defRPr b="0" cap="all" baseline="0"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987674" y="4148070"/>
            <a:ext cx="900000" cy="216000"/>
          </a:xfr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8" name="Espace réservé du texte 16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807804" y="4209318"/>
            <a:ext cx="93600" cy="93600"/>
          </a:xfrm>
          <a:prstGeom prst="ellipse">
            <a:avLst/>
          </a:prstGeom>
          <a:solidFill>
            <a:schemeClr val="accent6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9" name="Espace réservé du texte 16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166818" y="4148070"/>
            <a:ext cx="900000" cy="216000"/>
          </a:xfr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0" name="Espace réservé du texte 1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986948" y="4209318"/>
            <a:ext cx="93600" cy="93600"/>
          </a:xfrm>
          <a:prstGeom prst="ellipse">
            <a:avLst/>
          </a:prstGeom>
          <a:solidFill>
            <a:schemeClr val="accent2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1" name="Espace réservé du texte 16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345962" y="4148070"/>
            <a:ext cx="900000" cy="216000"/>
          </a:xfr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2" name="Espace réservé du texte 1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166092" y="4209318"/>
            <a:ext cx="93600" cy="93600"/>
          </a:xfrm>
          <a:prstGeom prst="ellipse">
            <a:avLst/>
          </a:prstGeom>
          <a:solidFill>
            <a:schemeClr val="accent4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3" name="Espace réservé du texte 16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525106" y="4148070"/>
            <a:ext cx="900000" cy="216000"/>
          </a:xfr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4" name="Espace réservé du texte 16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345236" y="4209318"/>
            <a:ext cx="93600" cy="93600"/>
          </a:xfrm>
          <a:prstGeom prst="ellipse">
            <a:avLst/>
          </a:prstGeom>
          <a:solidFill>
            <a:schemeClr val="accent5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5" name="Espace réservé du texte 16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704250" y="4148070"/>
            <a:ext cx="900000" cy="216000"/>
          </a:xfr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6" name="Espace réservé du texte 16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7524380" y="4209318"/>
            <a:ext cx="93600" cy="93600"/>
          </a:xfrm>
          <a:prstGeom prst="ellipse">
            <a:avLst/>
          </a:prstGeom>
          <a:solidFill>
            <a:schemeClr val="bg2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31372148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&amp;_cartouche_dro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1" y="1743075"/>
            <a:ext cx="3960000" cy="273685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B14478F-4F01-4860-A8CB-9070E1EEFD8D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ffusion limitée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950913"/>
            <a:ext cx="80645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/>
          </p:nvPr>
        </p:nvSpPr>
        <p:spPr bwMode="gray">
          <a:xfrm>
            <a:off x="4644250" y="1779588"/>
            <a:ext cx="3960000" cy="486000"/>
          </a:xfrm>
          <a:solidFill>
            <a:schemeClr val="accent1"/>
          </a:solidFill>
        </p:spPr>
        <p:txBody>
          <a:bodyPr lIns="287902" tIns="17994" rIns="71976" bIns="0" anchor="ctr" anchorCtr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b="0" cap="all" baseline="0">
                <a:solidFill>
                  <a:schemeClr val="bg1"/>
                </a:solidFill>
                <a:latin typeface="Avenir LT Std 65 Medium" pitchFamily="34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du texte 11"/>
          <p:cNvSpPr>
            <a:spLocks noGrp="1"/>
          </p:cNvSpPr>
          <p:nvPr>
            <p:ph type="body" sz="quarter" idx="15"/>
          </p:nvPr>
        </p:nvSpPr>
        <p:spPr bwMode="gray">
          <a:xfrm>
            <a:off x="4644250" y="2355727"/>
            <a:ext cx="3960000" cy="1944812"/>
          </a:xfrm>
          <a:solidFill>
            <a:schemeClr val="accent1"/>
          </a:solidFill>
        </p:spPr>
        <p:txBody>
          <a:bodyPr wrap="square" lIns="143949" tIns="71976" rIns="71976" bIns="71976" anchor="t" anchorCtr="0">
            <a:noAutofit/>
          </a:bodyPr>
          <a:lstStyle>
            <a:lvl1pPr marL="143949" indent="-143949">
              <a:buFont typeface="Avenir LT Std 45 Book" pitchFamily="34" charset="0"/>
              <a:buChar char="+"/>
              <a:defRPr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410207809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&amp;_cartouche_gau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4824250" y="1156815"/>
            <a:ext cx="3780000" cy="3323111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152E514-C5B9-4658-B00F-C357ABEFBB14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ffusion limitée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/>
          </p:nvPr>
        </p:nvSpPr>
        <p:spPr bwMode="gray">
          <a:xfrm>
            <a:off x="539750" y="519523"/>
            <a:ext cx="3780000" cy="3781016"/>
          </a:xfrm>
          <a:solidFill>
            <a:schemeClr val="accent1"/>
          </a:solidFill>
        </p:spPr>
        <p:txBody>
          <a:bodyPr lIns="287902" tIns="629785" rIns="71976" bIns="107963" anchor="t" anchorCtr="0">
            <a:noAutofit/>
          </a:bodyPr>
          <a:lstStyle>
            <a:lvl1pPr marL="215927" indent="-215927">
              <a:lnSpc>
                <a:spcPct val="90000"/>
              </a:lnSpc>
              <a:spcAft>
                <a:spcPts val="0"/>
              </a:spcAft>
              <a:buFont typeface="Avenir LT Std 65 Medium" pitchFamily="34" charset="0"/>
              <a:buChar char="+"/>
              <a:defRPr sz="2200" b="0" cap="all" baseline="0">
                <a:solidFill>
                  <a:schemeClr val="bg1"/>
                </a:solidFill>
                <a:latin typeface="Avenir LT Std 65 Medium" pitchFamily="34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436825224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_&amp;_2_cartouch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2A470F1-11E0-46EF-A7BC-A3DB13DCA150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ffusion limitée</a:t>
            </a:r>
          </a:p>
        </p:txBody>
      </p:sp>
      <p:sp>
        <p:nvSpPr>
          <p:cNvPr id="13" name="Espace réservé du texte 11"/>
          <p:cNvSpPr>
            <a:spLocks noGrp="1"/>
          </p:cNvSpPr>
          <p:nvPr>
            <p:ph type="body" sz="quarter" idx="15"/>
          </p:nvPr>
        </p:nvSpPr>
        <p:spPr bwMode="gray">
          <a:xfrm>
            <a:off x="4824250" y="519113"/>
            <a:ext cx="3780000" cy="3781425"/>
          </a:xfrm>
          <a:noFill/>
        </p:spPr>
        <p:txBody>
          <a:bodyPr lIns="0" tIns="35988" rIns="0" bIns="0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2200" b="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930339" y="2049826"/>
            <a:ext cx="720000" cy="720000"/>
          </a:xfrm>
          <a:prstGeom prst="diamond">
            <a:avLst/>
          </a:prstGeom>
          <a:solidFill>
            <a:schemeClr val="accent1"/>
          </a:solidFill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100" b="0" cap="all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/>
          </p:nvPr>
        </p:nvSpPr>
        <p:spPr bwMode="gray">
          <a:xfrm>
            <a:off x="539750" y="519115"/>
            <a:ext cx="3780000" cy="3781424"/>
          </a:xfrm>
          <a:solidFill>
            <a:schemeClr val="accent1"/>
          </a:solidFill>
        </p:spPr>
        <p:txBody>
          <a:bodyPr lIns="287902" tIns="143949" rIns="71976" bIns="107963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22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5709424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us_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gray">
          <a:xfrm>
            <a:off x="179391" y="179388"/>
            <a:ext cx="8785225" cy="3529012"/>
          </a:xfrm>
          <a:prstGeom prst="rect">
            <a:avLst/>
          </a:prstGeom>
          <a:solidFill>
            <a:srgbClr val="D7D7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7" tIns="45720" rIns="91437" bIns="45720" rtlCol="0" anchor="ctr"/>
          <a:lstStyle/>
          <a:p>
            <a:pPr algn="ctr" defTabSz="914368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51" y="4813200"/>
            <a:ext cx="7669212" cy="162000"/>
          </a:xfrm>
          <a:prstGeom prst="rect">
            <a:avLst/>
          </a:prstGeom>
        </p:spPr>
        <p:txBody>
          <a:bodyPr/>
          <a:lstStyle/>
          <a:p>
            <a:pPr defTabSz="914368"/>
            <a:r>
              <a:rPr lang="fr-FR" sz="1800">
                <a:solidFill>
                  <a:srgbClr val="3C3732"/>
                </a:solidFill>
              </a:rPr>
              <a:t>mardi 27 janvier 2015</a:t>
            </a: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>
          <a:xfrm>
            <a:off x="179387" y="4813200"/>
            <a:ext cx="360363" cy="162000"/>
          </a:xfrm>
          <a:prstGeom prst="rect">
            <a:avLst/>
          </a:prstGeom>
        </p:spPr>
        <p:txBody>
          <a:bodyPr/>
          <a:lstStyle/>
          <a:p>
            <a:pPr defTabSz="914368"/>
            <a:fld id="{733122C9-A0B9-462F-8757-0847AD287B63}" type="slidenum">
              <a:rPr lang="fr-FR" sz="1800" smtClean="0">
                <a:solidFill>
                  <a:srgbClr val="3C3732"/>
                </a:solidFill>
              </a:rPr>
              <a:pPr defTabSz="914368"/>
              <a:t>‹N°›</a:t>
            </a:fld>
            <a:endParaRPr lang="fr-FR" sz="1800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179390" y="4659313"/>
            <a:ext cx="8029575" cy="162018"/>
          </a:xfrm>
          <a:prstGeom prst="rect">
            <a:avLst/>
          </a:prstGeom>
        </p:spPr>
        <p:txBody>
          <a:bodyPr/>
          <a:lstStyle/>
          <a:p>
            <a:pPr defTabSz="914368"/>
            <a:r>
              <a:rPr lang="fr-FR" sz="1800">
                <a:solidFill>
                  <a:srgbClr val="3C3732"/>
                </a:solidFill>
              </a:rPr>
              <a:t>Flash Report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3"/>
          </p:nvPr>
        </p:nvSpPr>
        <p:spPr bwMode="gray">
          <a:xfrm>
            <a:off x="539751" y="1669458"/>
            <a:ext cx="5860322" cy="230832"/>
          </a:xfrm>
          <a:solidFill>
            <a:schemeClr val="accent1"/>
          </a:solidFill>
        </p:spPr>
        <p:txBody>
          <a:bodyPr wrap="none" anchor="ctr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500" b="0" kern="1200" cap="all" baseline="0">
                <a:solidFill>
                  <a:schemeClr val="bg1"/>
                </a:solidFill>
                <a:latin typeface="Avenir LT Std 65 Medium" pitchFamily="34" charset="0"/>
              </a:defRPr>
            </a:lvl1pPr>
            <a:lvl2pPr>
              <a:lnSpc>
                <a:spcPct val="90000"/>
              </a:lnSpc>
              <a:defRPr sz="3500" cap="all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4"/>
          </p:nvPr>
        </p:nvSpPr>
        <p:spPr bwMode="gray">
          <a:xfrm>
            <a:off x="539752" y="1947070"/>
            <a:ext cx="8064500" cy="1350000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3500" b="0" cap="all" baseline="0">
                <a:solidFill>
                  <a:schemeClr val="accent1"/>
                </a:solidFill>
                <a:latin typeface="Avenir LT Std 65 Medium" pitchFamily="34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4" name="Espace réservé du texte 11"/>
          <p:cNvSpPr>
            <a:spLocks noGrp="1"/>
          </p:cNvSpPr>
          <p:nvPr>
            <p:ph type="body" sz="quarter" idx="15"/>
          </p:nvPr>
        </p:nvSpPr>
        <p:spPr bwMode="gray">
          <a:xfrm>
            <a:off x="539751" y="1438623"/>
            <a:ext cx="5860322" cy="230832"/>
          </a:xfrm>
          <a:solidFill>
            <a:schemeClr val="accent1"/>
          </a:solidFill>
        </p:spPr>
        <p:txBody>
          <a:bodyPr wrap="none" anchor="ctr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500" b="0" kern="1200" cap="all" baseline="0">
                <a:solidFill>
                  <a:schemeClr val="bg1"/>
                </a:solidFill>
                <a:latin typeface="Avenir LT Std 65 Medium" pitchFamily="34" charset="0"/>
              </a:defRPr>
            </a:lvl1pPr>
            <a:lvl2pPr>
              <a:lnSpc>
                <a:spcPct val="90000"/>
              </a:lnSpc>
              <a:defRPr sz="3500" cap="all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531963271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artouches_petites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9750" y="2427456"/>
            <a:ext cx="2520082" cy="1873085"/>
          </a:xfrm>
          <a:solidFill>
            <a:srgbClr val="D7D7D7"/>
          </a:solidFill>
        </p:spPr>
        <p:txBody>
          <a:bodyPr lIns="143949" tIns="1007656" rIns="71976" bIns="35988" anchor="t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1200" b="0" cap="all" baseline="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222BF8E-EF42-4488-A0EB-3E4AB1A76778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ffusion limitée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950913"/>
            <a:ext cx="80645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39750" y="1779588"/>
            <a:ext cx="2520082" cy="648000"/>
          </a:xfrm>
          <a:solidFill>
            <a:schemeClr val="accent1"/>
          </a:solidFill>
        </p:spPr>
        <p:txBody>
          <a:bodyPr lIns="143949" tIns="71976" rIns="71976" bIns="35988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0. titre</a:t>
            </a:r>
          </a:p>
        </p:txBody>
      </p:sp>
      <p:sp>
        <p:nvSpPr>
          <p:cNvPr id="17" name="Espace réservé pour une image  10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83568" y="2499833"/>
            <a:ext cx="828000" cy="828000"/>
          </a:xfrm>
          <a:prstGeom prst="rect">
            <a:avLst/>
          </a:prstGeom>
          <a:noFill/>
        </p:spPr>
        <p:txBody>
          <a:bodyPr lIns="0" tIns="0" rIns="0" anchor="ctr" anchorCtr="0"/>
          <a:lstStyle>
            <a:lvl1pPr algn="ctr">
              <a:defRPr sz="800" b="0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fr-FR"/>
              <a:t>Sélectionner l’icône pour insérer une image (format 23 x 23 mm)</a:t>
            </a:r>
          </a:p>
        </p:txBody>
      </p:sp>
      <p:sp>
        <p:nvSpPr>
          <p:cNvPr id="18" name="Espace réservé du texte 11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311962" y="2427457"/>
            <a:ext cx="2520082" cy="1873085"/>
          </a:xfrm>
          <a:solidFill>
            <a:srgbClr val="D7D7D7"/>
          </a:solidFill>
        </p:spPr>
        <p:txBody>
          <a:bodyPr lIns="143949" tIns="1007656" rIns="71976" bIns="35988" anchor="t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1200" b="0" cap="all" baseline="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9" name="Espace réservé du texte 11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311962" y="1779589"/>
            <a:ext cx="2520082" cy="648000"/>
          </a:xfrm>
          <a:solidFill>
            <a:schemeClr val="accent1"/>
          </a:solidFill>
        </p:spPr>
        <p:txBody>
          <a:bodyPr lIns="143949" tIns="71976" rIns="71976" bIns="35988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0. titre</a:t>
            </a:r>
          </a:p>
        </p:txBody>
      </p:sp>
      <p:sp>
        <p:nvSpPr>
          <p:cNvPr id="20" name="Espace réservé pour une image  10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3455777" y="2499834"/>
            <a:ext cx="828000" cy="828000"/>
          </a:xfrm>
          <a:prstGeom prst="rect">
            <a:avLst/>
          </a:prstGeom>
          <a:noFill/>
        </p:spPr>
        <p:txBody>
          <a:bodyPr lIns="0" tIns="0" rIns="0" anchor="ctr" anchorCtr="0"/>
          <a:lstStyle>
            <a:lvl1pPr algn="ctr">
              <a:defRPr sz="800" b="0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fr-FR"/>
              <a:t>Sélectionner l’icône pour insérer une image (format 23 x 23 mm)</a:t>
            </a:r>
          </a:p>
        </p:txBody>
      </p:sp>
      <p:sp>
        <p:nvSpPr>
          <p:cNvPr id="21" name="Espace réservé du texte 11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084169" y="2427457"/>
            <a:ext cx="2520082" cy="1873085"/>
          </a:xfrm>
          <a:solidFill>
            <a:schemeClr val="accent1"/>
          </a:solidFill>
        </p:spPr>
        <p:txBody>
          <a:bodyPr lIns="143949" tIns="1007656" rIns="71976" bIns="35988" anchor="t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1200" b="0" cap="all" baseline="0">
                <a:solidFill>
                  <a:schemeClr val="bg1"/>
                </a:solidFill>
                <a:latin typeface="Avenir LT Std 35 Light" pitchFamily="34" charset="0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2" name="Espace réservé du texte 11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084169" y="1779589"/>
            <a:ext cx="2520082" cy="648000"/>
          </a:xfrm>
          <a:solidFill>
            <a:schemeClr val="accent1"/>
          </a:solidFill>
        </p:spPr>
        <p:txBody>
          <a:bodyPr lIns="143949" tIns="71976" rIns="71976" bIns="35988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0. titre</a:t>
            </a:r>
          </a:p>
        </p:txBody>
      </p:sp>
      <p:sp>
        <p:nvSpPr>
          <p:cNvPr id="23" name="Espace réservé pour une image  10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6227986" y="2499834"/>
            <a:ext cx="828000" cy="828000"/>
          </a:xfrm>
          <a:prstGeom prst="rect">
            <a:avLst/>
          </a:prstGeom>
          <a:noFill/>
        </p:spPr>
        <p:txBody>
          <a:bodyPr lIns="0" tIns="0" rIns="0" anchor="ctr" anchorCtr="0"/>
          <a:lstStyle>
            <a:lvl1pPr algn="ctr">
              <a:defRPr sz="800" b="0" cap="all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/>
              <a:t>Sélectionner l’icône pour insérer une image (format 23 x 23 mm)</a:t>
            </a:r>
          </a:p>
        </p:txBody>
      </p:sp>
    </p:spTree>
    <p:extLst>
      <p:ext uri="{BB962C8B-B14F-4D97-AF65-F5344CB8AC3E}">
        <p14:creationId xmlns:p14="http://schemas.microsoft.com/office/powerpoint/2010/main" val="595283518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artouches_grandes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56E4CEF-60BA-4661-84F0-635917DB347A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ffusion limitée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950913"/>
            <a:ext cx="80645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39750" y="1779588"/>
            <a:ext cx="2520082" cy="648000"/>
          </a:xfrm>
          <a:solidFill>
            <a:schemeClr val="accent1"/>
          </a:solidFill>
        </p:spPr>
        <p:txBody>
          <a:bodyPr lIns="143949" tIns="71976" rIns="71976" bIns="35988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0. titre</a:t>
            </a:r>
          </a:p>
        </p:txBody>
      </p:sp>
      <p:sp>
        <p:nvSpPr>
          <p:cNvPr id="17" name="Espace réservé pour une image  10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539832" y="2427589"/>
            <a:ext cx="2520000" cy="1872950"/>
          </a:xfrm>
          <a:prstGeom prst="rect">
            <a:avLst/>
          </a:prstGeom>
          <a:solidFill>
            <a:srgbClr val="D7D7D7"/>
          </a:solidFill>
        </p:spPr>
        <p:txBody>
          <a:bodyPr lIns="35988" tIns="971669" rIns="35988" anchor="ctr" anchorCtr="0"/>
          <a:lstStyle>
            <a:lvl1pPr algn="ctr">
              <a:defRPr sz="1300" b="0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fr-FR"/>
              <a:t>Sélectionner l’icône pour insérer une image format ( 70 x 52 mm)</a:t>
            </a:r>
          </a:p>
        </p:txBody>
      </p:sp>
      <p:sp>
        <p:nvSpPr>
          <p:cNvPr id="25" name="Espace réservé du texte 11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311962" y="1779588"/>
            <a:ext cx="2520082" cy="648000"/>
          </a:xfrm>
          <a:solidFill>
            <a:schemeClr val="accent1"/>
          </a:solidFill>
        </p:spPr>
        <p:txBody>
          <a:bodyPr lIns="143949" tIns="71976" rIns="71976" bIns="35988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0. titre</a:t>
            </a:r>
          </a:p>
        </p:txBody>
      </p:sp>
      <p:sp>
        <p:nvSpPr>
          <p:cNvPr id="26" name="Espace réservé pour une image  10"/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3312041" y="2427589"/>
            <a:ext cx="2520000" cy="1872950"/>
          </a:xfrm>
          <a:prstGeom prst="rect">
            <a:avLst/>
          </a:prstGeom>
          <a:solidFill>
            <a:srgbClr val="D7D7D7"/>
          </a:solidFill>
        </p:spPr>
        <p:txBody>
          <a:bodyPr lIns="35988" tIns="971669" rIns="35988" anchor="ctr" anchorCtr="0"/>
          <a:lstStyle>
            <a:lvl1pPr algn="ctr">
              <a:defRPr sz="1300" b="0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fr-FR"/>
              <a:t>Sélectionner l’icône pour insérer une image format ( 70 x 52 mm)</a:t>
            </a:r>
          </a:p>
        </p:txBody>
      </p:sp>
      <p:sp>
        <p:nvSpPr>
          <p:cNvPr id="27" name="Espace réservé du texte 11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084169" y="1779588"/>
            <a:ext cx="2520082" cy="648000"/>
          </a:xfrm>
          <a:solidFill>
            <a:schemeClr val="accent1"/>
          </a:solidFill>
        </p:spPr>
        <p:txBody>
          <a:bodyPr lIns="143949" tIns="71976" rIns="71976" bIns="35988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0. titre</a:t>
            </a:r>
          </a:p>
        </p:txBody>
      </p:sp>
      <p:sp>
        <p:nvSpPr>
          <p:cNvPr id="28" name="Espace réservé pour une image  10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6084250" y="2427589"/>
            <a:ext cx="2520000" cy="1872950"/>
          </a:xfrm>
          <a:prstGeom prst="rect">
            <a:avLst/>
          </a:prstGeom>
          <a:solidFill>
            <a:srgbClr val="D7D7D7"/>
          </a:solidFill>
        </p:spPr>
        <p:txBody>
          <a:bodyPr lIns="35988" tIns="971669" rIns="35988" anchor="ctr" anchorCtr="0"/>
          <a:lstStyle>
            <a:lvl1pPr algn="ctr">
              <a:defRPr sz="1300" b="0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fr-FR"/>
              <a:t>Sélectionner l’icône pour insérer une image format ( 70 x 52 mm)</a:t>
            </a:r>
          </a:p>
        </p:txBody>
      </p:sp>
    </p:spTree>
    <p:extLst>
      <p:ext uri="{BB962C8B-B14F-4D97-AF65-F5344CB8AC3E}">
        <p14:creationId xmlns:p14="http://schemas.microsoft.com/office/powerpoint/2010/main" val="910702310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ta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E4ECEFF-BADC-47AD-AB1B-F5DB164B8E85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ffusion limitée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447675"/>
            <a:ext cx="8064500" cy="4032250"/>
          </a:xfrm>
        </p:spPr>
        <p:txBody>
          <a:bodyPr anchor="ctr" anchorCtr="0"/>
          <a:lstStyle>
            <a:lvl1pPr marL="359877" indent="-359877">
              <a:lnSpc>
                <a:spcPct val="90000"/>
              </a:lnSpc>
              <a:spcBef>
                <a:spcPts val="3200"/>
              </a:spcBef>
              <a:buFont typeface="Avenir LT Std 65 Medium" pitchFamily="34" charset="0"/>
              <a:buChar char="+"/>
              <a:defRPr sz="2800" b="0" cap="all" baseline="0"/>
            </a:lvl1pPr>
            <a:lvl2pPr marL="359877">
              <a:lnSpc>
                <a:spcPct val="90000"/>
              </a:lnSpc>
              <a:spcAft>
                <a:spcPts val="0"/>
              </a:spcAft>
              <a:defRPr sz="1500" cap="all" baseline="0">
                <a:latin typeface="+mn-lt"/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283364062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r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1" y="1743077"/>
            <a:ext cx="3960000" cy="2736851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3FA351D-E7FB-49C5-B486-2E0797E168B6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fr-FR"/>
              <a:t>diffusion limitée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950913"/>
            <a:ext cx="48240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9916960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3"/>
          </a:xfrm>
          <a:prstGeom prst="rect">
            <a:avLst/>
          </a:prstGeom>
        </p:spPr>
        <p:txBody>
          <a:bodyPr/>
          <a:lstStyle/>
          <a:p>
            <a:fld id="{D91DC166-3F88-4849-A61A-AD75C82AAE0A}" type="datetimeFigureOut">
              <a:rPr lang="fr-FR" smtClean="0"/>
              <a:t>17/01/202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3"/>
          </a:xfrm>
          <a:prstGeom prst="rect">
            <a:avLst/>
          </a:prstGeom>
        </p:spPr>
        <p:txBody>
          <a:bodyPr/>
          <a:lstStyle/>
          <a:p>
            <a:fld id="{44AC34E9-4D80-9947-9379-C8B62DEAC814}" type="slidenum">
              <a:rPr lang="fr-FR" smtClean="0"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croche_visu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texte 14"/>
          <p:cNvSpPr>
            <a:spLocks noGrp="1"/>
          </p:cNvSpPr>
          <p:nvPr>
            <p:ph type="body" sz="quarter" idx="19"/>
          </p:nvPr>
        </p:nvSpPr>
        <p:spPr bwMode="gray">
          <a:xfrm>
            <a:off x="539752" y="633882"/>
            <a:ext cx="8064500" cy="3600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4500" b="0" cap="all" baseline="0">
                <a:latin typeface="+mj-lt"/>
              </a:defRPr>
            </a:lvl1pPr>
            <a:lvl2pPr>
              <a:lnSpc>
                <a:spcPct val="90000"/>
              </a:lnSpc>
              <a:spcBef>
                <a:spcPts val="1500"/>
              </a:spcBef>
              <a:spcAft>
                <a:spcPts val="0"/>
              </a:spcAft>
              <a:defRPr sz="1500" b="0" cap="all" baseline="0">
                <a:solidFill>
                  <a:srgbClr val="747678"/>
                </a:solidFill>
                <a:latin typeface="+mn-lt"/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2" name="Espace réservé pour une image  10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179389" y="179387"/>
            <a:ext cx="8785225" cy="4140000"/>
          </a:xfrm>
          <a:prstGeom prst="rect">
            <a:avLst/>
          </a:prstGeom>
          <a:solidFill>
            <a:srgbClr val="D7D7D7"/>
          </a:solidFill>
        </p:spPr>
        <p:txBody>
          <a:bodyPr lIns="719976" tIns="1259957" rIns="719976" anchor="ctr" anchorCtr="0"/>
          <a:lstStyle>
            <a:lvl1pPr algn="ctr">
              <a:defRPr sz="1300" b="0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fr-FR"/>
              <a:t>Sélectionner l’icône pour insérer une image (format 244 x 115 mm), puis disposer l’image en arrière plan (Sélectionner l’image avec le bouton droit de la souris / Mettre à l’arrière plan). Lorsque l’image est en arrière plan, le titre apparaît.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51" y="4813200"/>
            <a:ext cx="7669212" cy="162000"/>
          </a:xfrm>
          <a:prstGeom prst="rect">
            <a:avLst/>
          </a:prstGeom>
        </p:spPr>
        <p:txBody>
          <a:bodyPr/>
          <a:lstStyle/>
          <a:p>
            <a:pPr defTabSz="914368"/>
            <a:r>
              <a:rPr lang="fr-FR" sz="1800">
                <a:solidFill>
                  <a:srgbClr val="3C3732"/>
                </a:solidFill>
              </a:rPr>
              <a:t>mardi 27 janvier 2015</a:t>
            </a: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>
          <a:xfrm>
            <a:off x="179387" y="4813200"/>
            <a:ext cx="360363" cy="162000"/>
          </a:xfrm>
          <a:prstGeom prst="rect">
            <a:avLst/>
          </a:prstGeom>
        </p:spPr>
        <p:txBody>
          <a:bodyPr/>
          <a:lstStyle/>
          <a:p>
            <a:pPr defTabSz="914368"/>
            <a:fld id="{733122C9-A0B9-462F-8757-0847AD287B63}" type="slidenum">
              <a:rPr lang="fr-FR" sz="1800" smtClean="0">
                <a:solidFill>
                  <a:srgbClr val="3C3732"/>
                </a:solidFill>
              </a:rPr>
              <a:pPr defTabSz="914368"/>
              <a:t>‹N°›</a:t>
            </a:fld>
            <a:endParaRPr lang="fr-FR" sz="1800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179390" y="4659313"/>
            <a:ext cx="8029575" cy="162018"/>
          </a:xfrm>
          <a:prstGeom prst="rect">
            <a:avLst/>
          </a:prstGeom>
        </p:spPr>
        <p:txBody>
          <a:bodyPr/>
          <a:lstStyle/>
          <a:p>
            <a:pPr defTabSz="914368"/>
            <a:r>
              <a:rPr lang="fr-FR" sz="1800">
                <a:solidFill>
                  <a:srgbClr val="3C3732"/>
                </a:solidFill>
              </a:rPr>
              <a:t>Flash Report</a:t>
            </a:r>
          </a:p>
        </p:txBody>
      </p:sp>
    </p:spTree>
    <p:extLst>
      <p:ext uri="{BB962C8B-B14F-4D97-AF65-F5344CB8AC3E}">
        <p14:creationId xmlns:p14="http://schemas.microsoft.com/office/powerpoint/2010/main" val="56793088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croche_visuel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PPT_Packshot_244x130,5_01.jpg"/>
          <p:cNvPicPr preferRelativeResize="0">
            <a:picLocks/>
          </p:cNvPicPr>
          <p:nvPr userDrawn="1"/>
        </p:nvPicPr>
        <p:blipFill>
          <a:blip r:embed="rId2" cstate="print"/>
          <a:stretch>
            <a:fillRect/>
          </a:stretch>
        </p:blipFill>
        <p:spPr bwMode="gray">
          <a:xfrm>
            <a:off x="179391" y="180311"/>
            <a:ext cx="8782156" cy="4138157"/>
          </a:xfrm>
          <a:prstGeom prst="rect">
            <a:avLst/>
          </a:prstGeom>
        </p:spPr>
      </p:pic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51" y="4813200"/>
            <a:ext cx="7669212" cy="162000"/>
          </a:xfrm>
          <a:prstGeom prst="rect">
            <a:avLst/>
          </a:prstGeom>
        </p:spPr>
        <p:txBody>
          <a:bodyPr/>
          <a:lstStyle/>
          <a:p>
            <a:pPr defTabSz="914368"/>
            <a:r>
              <a:rPr lang="fr-FR" sz="1800">
                <a:solidFill>
                  <a:srgbClr val="3C3732"/>
                </a:solidFill>
              </a:rPr>
              <a:t>mardi 27 janvier 2015</a:t>
            </a: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>
          <a:xfrm>
            <a:off x="179387" y="4813200"/>
            <a:ext cx="360363" cy="162000"/>
          </a:xfrm>
          <a:prstGeom prst="rect">
            <a:avLst/>
          </a:prstGeom>
        </p:spPr>
        <p:txBody>
          <a:bodyPr/>
          <a:lstStyle/>
          <a:p>
            <a:pPr defTabSz="914368"/>
            <a:fld id="{733122C9-A0B9-462F-8757-0847AD287B63}" type="slidenum">
              <a:rPr lang="fr-FR" sz="1800" smtClean="0">
                <a:solidFill>
                  <a:srgbClr val="3C3732"/>
                </a:solidFill>
              </a:rPr>
              <a:pPr defTabSz="914368"/>
              <a:t>‹N°›</a:t>
            </a:fld>
            <a:endParaRPr lang="fr-FR" sz="1800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179390" y="4659313"/>
            <a:ext cx="8029575" cy="162018"/>
          </a:xfrm>
          <a:prstGeom prst="rect">
            <a:avLst/>
          </a:prstGeom>
        </p:spPr>
        <p:txBody>
          <a:bodyPr/>
          <a:lstStyle/>
          <a:p>
            <a:pPr defTabSz="914368"/>
            <a:r>
              <a:rPr lang="fr-FR" sz="1800">
                <a:solidFill>
                  <a:srgbClr val="3C3732"/>
                </a:solidFill>
              </a:rPr>
              <a:t>Flash Report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9"/>
          </p:nvPr>
        </p:nvSpPr>
        <p:spPr bwMode="gray">
          <a:xfrm>
            <a:off x="539752" y="633883"/>
            <a:ext cx="8064500" cy="3600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4500" b="0" cap="all" baseline="0">
                <a:latin typeface="+mj-lt"/>
              </a:defRPr>
            </a:lvl1pPr>
            <a:lvl2pPr>
              <a:lnSpc>
                <a:spcPct val="90000"/>
              </a:lnSpc>
              <a:spcBef>
                <a:spcPts val="1500"/>
              </a:spcBef>
              <a:spcAft>
                <a:spcPts val="0"/>
              </a:spcAft>
              <a:defRPr sz="1500" cap="all" baseline="0">
                <a:solidFill>
                  <a:srgbClr val="747678"/>
                </a:solidFill>
                <a:latin typeface="+mn-lt"/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18056739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croche_visuel_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PPT_Packshot_244x130,5_01.jpg"/>
          <p:cNvPicPr preferRelativeResize="0">
            <a:picLocks/>
          </p:cNvPicPr>
          <p:nvPr userDrawn="1"/>
        </p:nvPicPr>
        <p:blipFill>
          <a:blip r:embed="rId2" cstate="print"/>
          <a:stretch>
            <a:fillRect/>
          </a:stretch>
        </p:blipFill>
        <p:spPr bwMode="gray">
          <a:xfrm>
            <a:off x="179390" y="180311"/>
            <a:ext cx="8782156" cy="4138157"/>
          </a:xfrm>
          <a:prstGeom prst="rect">
            <a:avLst/>
          </a:prstGeom>
        </p:spPr>
      </p:pic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51" y="4813200"/>
            <a:ext cx="7669212" cy="162000"/>
          </a:xfrm>
          <a:prstGeom prst="rect">
            <a:avLst/>
          </a:prstGeom>
        </p:spPr>
        <p:txBody>
          <a:bodyPr/>
          <a:lstStyle/>
          <a:p>
            <a:pPr defTabSz="914368"/>
            <a:r>
              <a:rPr lang="fr-FR" sz="1800">
                <a:solidFill>
                  <a:srgbClr val="3C3732"/>
                </a:solidFill>
              </a:rPr>
              <a:t>mardi 27 janvier 2015</a:t>
            </a: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>
          <a:xfrm>
            <a:off x="179387" y="4813200"/>
            <a:ext cx="360363" cy="162000"/>
          </a:xfrm>
          <a:prstGeom prst="rect">
            <a:avLst/>
          </a:prstGeom>
        </p:spPr>
        <p:txBody>
          <a:bodyPr/>
          <a:lstStyle/>
          <a:p>
            <a:pPr defTabSz="914368"/>
            <a:fld id="{733122C9-A0B9-462F-8757-0847AD287B63}" type="slidenum">
              <a:rPr lang="fr-FR" sz="1800" smtClean="0">
                <a:solidFill>
                  <a:srgbClr val="3C3732"/>
                </a:solidFill>
              </a:rPr>
              <a:pPr defTabSz="914368"/>
              <a:t>‹N°›</a:t>
            </a:fld>
            <a:endParaRPr lang="fr-FR" sz="1800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179390" y="4659313"/>
            <a:ext cx="8029575" cy="162018"/>
          </a:xfrm>
          <a:prstGeom prst="rect">
            <a:avLst/>
          </a:prstGeom>
        </p:spPr>
        <p:txBody>
          <a:bodyPr/>
          <a:lstStyle/>
          <a:p>
            <a:pPr defTabSz="914368"/>
            <a:r>
              <a:rPr lang="fr-FR" sz="1800">
                <a:solidFill>
                  <a:srgbClr val="3C3732"/>
                </a:solidFill>
              </a:rPr>
              <a:t>Flash Report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9"/>
          </p:nvPr>
        </p:nvSpPr>
        <p:spPr bwMode="gray">
          <a:xfrm>
            <a:off x="539752" y="633883"/>
            <a:ext cx="8064500" cy="3600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4500" b="0" cap="all" baseline="0">
                <a:latin typeface="+mj-lt"/>
              </a:defRPr>
            </a:lvl1pPr>
            <a:lvl2pPr>
              <a:lnSpc>
                <a:spcPct val="90000"/>
              </a:lnSpc>
              <a:spcBef>
                <a:spcPts val="1500"/>
              </a:spcBef>
              <a:spcAft>
                <a:spcPts val="0"/>
              </a:spcAft>
              <a:defRPr sz="1500" cap="all" baseline="0">
                <a:solidFill>
                  <a:srgbClr val="747678"/>
                </a:solidFill>
                <a:latin typeface="+mn-lt"/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92645405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_2_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1" y="1743077"/>
            <a:ext cx="3960000" cy="2736851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2" y="950913"/>
            <a:ext cx="80645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2" name="Espace réservé du contenu 2"/>
          <p:cNvSpPr>
            <a:spLocks noGrp="1"/>
          </p:cNvSpPr>
          <p:nvPr>
            <p:ph idx="19" hasCustomPrompt="1"/>
          </p:nvPr>
        </p:nvSpPr>
        <p:spPr bwMode="gray">
          <a:xfrm>
            <a:off x="4644251" y="1743077"/>
            <a:ext cx="3960000" cy="2736851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</p:spTree>
    <p:extLst>
      <p:ext uri="{BB962C8B-B14F-4D97-AF65-F5344CB8AC3E}">
        <p14:creationId xmlns:p14="http://schemas.microsoft.com/office/powerpoint/2010/main" val="85535191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1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1" y="1743077"/>
            <a:ext cx="3960000" cy="2736851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51" y="4813200"/>
            <a:ext cx="7669212" cy="162000"/>
          </a:xfrm>
          <a:prstGeom prst="rect">
            <a:avLst/>
          </a:prstGeom>
        </p:spPr>
        <p:txBody>
          <a:bodyPr/>
          <a:lstStyle/>
          <a:p>
            <a:pPr defTabSz="914368"/>
            <a:r>
              <a:rPr lang="fr-FR" sz="1800">
                <a:solidFill>
                  <a:srgbClr val="3C3732"/>
                </a:solidFill>
              </a:rPr>
              <a:t>mardi 27 janvier 2015</a:t>
            </a: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>
          <a:xfrm>
            <a:off x="179387" y="4813200"/>
            <a:ext cx="360363" cy="162000"/>
          </a:xfrm>
          <a:prstGeom prst="rect">
            <a:avLst/>
          </a:prstGeom>
        </p:spPr>
        <p:txBody>
          <a:bodyPr/>
          <a:lstStyle/>
          <a:p>
            <a:pPr defTabSz="914368"/>
            <a:fld id="{733122C9-A0B9-462F-8757-0847AD287B63}" type="slidenum">
              <a:rPr lang="fr-FR" sz="1800" smtClean="0">
                <a:solidFill>
                  <a:srgbClr val="3C3732"/>
                </a:solidFill>
              </a:rPr>
              <a:pPr defTabSz="914368"/>
              <a:t>‹N°›</a:t>
            </a:fld>
            <a:endParaRPr lang="fr-FR" sz="1800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179390" y="4659313"/>
            <a:ext cx="8029575" cy="162018"/>
          </a:xfrm>
          <a:prstGeom prst="rect">
            <a:avLst/>
          </a:prstGeom>
        </p:spPr>
        <p:txBody>
          <a:bodyPr/>
          <a:lstStyle/>
          <a:p>
            <a:pPr defTabSz="914368"/>
            <a:r>
              <a:rPr lang="fr-FR" sz="1800">
                <a:solidFill>
                  <a:srgbClr val="3C3732"/>
                </a:solidFill>
              </a:rPr>
              <a:t>Flash Report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2" y="950913"/>
            <a:ext cx="80645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1" name="Espace réservé pour une image  10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644251" y="1779589"/>
            <a:ext cx="3960000" cy="2520950"/>
          </a:xfrm>
          <a:prstGeom prst="rect">
            <a:avLst/>
          </a:prstGeom>
          <a:solidFill>
            <a:srgbClr val="D7D7D7"/>
          </a:solidFill>
        </p:spPr>
        <p:txBody>
          <a:bodyPr lIns="359988" tIns="1727942" rIns="359988" anchor="ctr" anchorCtr="0"/>
          <a:lstStyle>
            <a:lvl1pPr algn="ctr">
              <a:defRPr sz="1300" b="0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fr-FR"/>
              <a:t>Sélectionner l’icône pour insérer une image (format 110 x 70 mm)</a:t>
            </a:r>
          </a:p>
        </p:txBody>
      </p:sp>
    </p:spTree>
    <p:extLst>
      <p:ext uri="{BB962C8B-B14F-4D97-AF65-F5344CB8AC3E}">
        <p14:creationId xmlns:p14="http://schemas.microsoft.com/office/powerpoint/2010/main" val="3907894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2" y="1743075"/>
            <a:ext cx="8064500" cy="1665768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51" y="4813200"/>
            <a:ext cx="7669212" cy="162000"/>
          </a:xfrm>
          <a:prstGeom prst="rect">
            <a:avLst/>
          </a:prstGeom>
        </p:spPr>
        <p:txBody>
          <a:bodyPr/>
          <a:lstStyle/>
          <a:p>
            <a:pPr defTabSz="914368"/>
            <a:r>
              <a:rPr lang="fr-FR" sz="1800">
                <a:solidFill>
                  <a:srgbClr val="3C3732"/>
                </a:solidFill>
              </a:rPr>
              <a:t>mardi 27 janvier 2015</a:t>
            </a: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>
          <a:xfrm>
            <a:off x="179387" y="4813200"/>
            <a:ext cx="360363" cy="162000"/>
          </a:xfrm>
          <a:prstGeom prst="rect">
            <a:avLst/>
          </a:prstGeom>
        </p:spPr>
        <p:txBody>
          <a:bodyPr/>
          <a:lstStyle/>
          <a:p>
            <a:pPr defTabSz="914368"/>
            <a:fld id="{733122C9-A0B9-462F-8757-0847AD287B63}" type="slidenum">
              <a:rPr lang="fr-FR" sz="1800" smtClean="0">
                <a:solidFill>
                  <a:srgbClr val="3C3732"/>
                </a:solidFill>
              </a:rPr>
              <a:pPr defTabSz="914368"/>
              <a:t>‹N°›</a:t>
            </a:fld>
            <a:endParaRPr lang="fr-FR" sz="1800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179390" y="4659313"/>
            <a:ext cx="8029575" cy="162018"/>
          </a:xfrm>
          <a:prstGeom prst="rect">
            <a:avLst/>
          </a:prstGeom>
        </p:spPr>
        <p:txBody>
          <a:bodyPr/>
          <a:lstStyle/>
          <a:p>
            <a:pPr defTabSz="914368"/>
            <a:r>
              <a:rPr lang="fr-FR" sz="1800">
                <a:solidFill>
                  <a:srgbClr val="3C3732"/>
                </a:solidFill>
              </a:rPr>
              <a:t>Flash Report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2" y="950913"/>
            <a:ext cx="80645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tabLst/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1" name="Espace réservé du texte 13"/>
          <p:cNvSpPr>
            <a:spLocks noGrp="1"/>
          </p:cNvSpPr>
          <p:nvPr>
            <p:ph type="body" sz="quarter" idx="14"/>
          </p:nvPr>
        </p:nvSpPr>
        <p:spPr bwMode="gray">
          <a:xfrm>
            <a:off x="539749" y="3531248"/>
            <a:ext cx="4824000" cy="515897"/>
          </a:xfrm>
          <a:solidFill>
            <a:srgbClr val="D7D7D7"/>
          </a:solidFill>
          <a:ln w="82550">
            <a:solidFill>
              <a:srgbClr val="D7D7D7"/>
            </a:solidFill>
            <a:miter lim="800000"/>
          </a:ln>
        </p:spPr>
        <p:txBody>
          <a:bodyPr tIns="35998" bIns="35998">
            <a:sp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1600" b="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85406361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1" y="1743077"/>
            <a:ext cx="3960000" cy="2736851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51" y="4813200"/>
            <a:ext cx="7669212" cy="162000"/>
          </a:xfrm>
          <a:prstGeom prst="rect">
            <a:avLst/>
          </a:prstGeom>
        </p:spPr>
        <p:txBody>
          <a:bodyPr/>
          <a:lstStyle/>
          <a:p>
            <a:pPr defTabSz="914368"/>
            <a:r>
              <a:rPr lang="fr-FR" sz="1800">
                <a:solidFill>
                  <a:srgbClr val="3C3732"/>
                </a:solidFill>
              </a:rPr>
              <a:t>mardi 27 janvier 2015</a:t>
            </a: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>
          <a:xfrm>
            <a:off x="179387" y="4813200"/>
            <a:ext cx="360363" cy="162000"/>
          </a:xfrm>
          <a:prstGeom prst="rect">
            <a:avLst/>
          </a:prstGeom>
        </p:spPr>
        <p:txBody>
          <a:bodyPr/>
          <a:lstStyle/>
          <a:p>
            <a:pPr defTabSz="914368"/>
            <a:fld id="{733122C9-A0B9-462F-8757-0847AD287B63}" type="slidenum">
              <a:rPr lang="fr-FR" sz="1800" smtClean="0">
                <a:solidFill>
                  <a:srgbClr val="3C3732"/>
                </a:solidFill>
              </a:rPr>
              <a:pPr defTabSz="914368"/>
              <a:t>‹N°›</a:t>
            </a:fld>
            <a:endParaRPr lang="fr-FR" sz="1800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179390" y="4659313"/>
            <a:ext cx="8029575" cy="162018"/>
          </a:xfrm>
          <a:prstGeom prst="rect">
            <a:avLst/>
          </a:prstGeom>
        </p:spPr>
        <p:txBody>
          <a:bodyPr/>
          <a:lstStyle/>
          <a:p>
            <a:pPr defTabSz="914368"/>
            <a:r>
              <a:rPr lang="fr-FR" sz="1800">
                <a:solidFill>
                  <a:srgbClr val="3C3732"/>
                </a:solidFill>
              </a:rPr>
              <a:t>Flash Report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2" y="950913"/>
            <a:ext cx="80645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tabLst/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Espace réservé du graphique 14"/>
          <p:cNvSpPr>
            <a:spLocks noGrp="1"/>
          </p:cNvSpPr>
          <p:nvPr>
            <p:ph type="chart" sz="quarter" idx="14" hasCustomPrompt="1"/>
          </p:nvPr>
        </p:nvSpPr>
        <p:spPr bwMode="gray">
          <a:xfrm>
            <a:off x="4644251" y="1779591"/>
            <a:ext cx="3960000" cy="2700337"/>
          </a:xfrm>
        </p:spPr>
        <p:txBody>
          <a:bodyPr tIns="719976" anchor="ctr" anchorCtr="0"/>
          <a:lstStyle>
            <a:lvl1pPr algn="ctr">
              <a:defRPr b="0" cap="all" baseline="0">
                <a:latin typeface="+mn-lt"/>
              </a:defRPr>
            </a:lvl1pPr>
          </a:lstStyle>
          <a:p>
            <a:r>
              <a:rPr lang="fr-FR"/>
              <a:t>GRAPHIQUE</a:t>
            </a:r>
          </a:p>
        </p:txBody>
      </p:sp>
    </p:spTree>
    <p:extLst>
      <p:ext uri="{BB962C8B-B14F-4D97-AF65-F5344CB8AC3E}">
        <p14:creationId xmlns:p14="http://schemas.microsoft.com/office/powerpoint/2010/main" val="290596786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_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51" y="4813200"/>
            <a:ext cx="7669212" cy="162000"/>
          </a:xfrm>
          <a:prstGeom prst="rect">
            <a:avLst/>
          </a:prstGeom>
        </p:spPr>
        <p:txBody>
          <a:bodyPr/>
          <a:lstStyle/>
          <a:p>
            <a:pPr defTabSz="914368"/>
            <a:r>
              <a:rPr lang="fr-FR" sz="1800">
                <a:solidFill>
                  <a:srgbClr val="3C3732"/>
                </a:solidFill>
              </a:rPr>
              <a:t>mardi 27 janvier 2015</a:t>
            </a: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>
          <a:xfrm>
            <a:off x="179387" y="4813200"/>
            <a:ext cx="360363" cy="162000"/>
          </a:xfrm>
          <a:prstGeom prst="rect">
            <a:avLst/>
          </a:prstGeom>
        </p:spPr>
        <p:txBody>
          <a:bodyPr/>
          <a:lstStyle/>
          <a:p>
            <a:pPr defTabSz="914368"/>
            <a:fld id="{733122C9-A0B9-462F-8757-0847AD287B63}" type="slidenum">
              <a:rPr lang="fr-FR" sz="1800" smtClean="0">
                <a:solidFill>
                  <a:srgbClr val="3C3732"/>
                </a:solidFill>
              </a:rPr>
              <a:pPr defTabSz="914368"/>
              <a:t>‹N°›</a:t>
            </a:fld>
            <a:endParaRPr lang="fr-FR" sz="1800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179390" y="4659313"/>
            <a:ext cx="8029575" cy="162018"/>
          </a:xfrm>
          <a:prstGeom prst="rect">
            <a:avLst/>
          </a:prstGeom>
        </p:spPr>
        <p:txBody>
          <a:bodyPr/>
          <a:lstStyle/>
          <a:p>
            <a:pPr defTabSz="914368"/>
            <a:r>
              <a:rPr lang="fr-FR" sz="1800">
                <a:solidFill>
                  <a:srgbClr val="3C3732"/>
                </a:solidFill>
              </a:rPr>
              <a:t>Flash Report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2" y="950913"/>
            <a:ext cx="80645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Espace réservé du graphique 14"/>
          <p:cNvSpPr>
            <a:spLocks noGrp="1"/>
          </p:cNvSpPr>
          <p:nvPr>
            <p:ph type="chart" sz="quarter" idx="14" hasCustomPrompt="1"/>
          </p:nvPr>
        </p:nvSpPr>
        <p:spPr bwMode="gray">
          <a:xfrm>
            <a:off x="539752" y="1779591"/>
            <a:ext cx="8064500" cy="2700337"/>
          </a:xfrm>
        </p:spPr>
        <p:txBody>
          <a:bodyPr tIns="719976" anchor="ctr" anchorCtr="0"/>
          <a:lstStyle>
            <a:lvl1pPr algn="ctr">
              <a:defRPr b="0" cap="all" baseline="0">
                <a:latin typeface="+mn-lt"/>
              </a:defRPr>
            </a:lvl1pPr>
          </a:lstStyle>
          <a:p>
            <a:r>
              <a:rPr lang="fr-FR"/>
              <a:t>GRAPHIQUE</a:t>
            </a:r>
          </a:p>
        </p:txBody>
      </p:sp>
    </p:spTree>
    <p:extLst>
      <p:ext uri="{BB962C8B-B14F-4D97-AF65-F5344CB8AC3E}">
        <p14:creationId xmlns:p14="http://schemas.microsoft.com/office/powerpoint/2010/main" val="15768879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_graphique_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graphique 14"/>
          <p:cNvSpPr>
            <a:spLocks noGrp="1"/>
          </p:cNvSpPr>
          <p:nvPr>
            <p:ph type="chart" sz="quarter" idx="14" hasCustomPrompt="1"/>
          </p:nvPr>
        </p:nvSpPr>
        <p:spPr bwMode="gray">
          <a:xfrm>
            <a:off x="539752" y="1779591"/>
            <a:ext cx="8064500" cy="2700337"/>
          </a:xfrm>
        </p:spPr>
        <p:txBody>
          <a:bodyPr tIns="719976" anchor="ctr" anchorCtr="0"/>
          <a:lstStyle>
            <a:lvl1pPr algn="ctr">
              <a:defRPr b="0" cap="all" baseline="0">
                <a:latin typeface="+mn-lt"/>
              </a:defRPr>
            </a:lvl1pPr>
          </a:lstStyle>
          <a:p>
            <a:r>
              <a:rPr lang="fr-FR"/>
              <a:t>GRAPHIQU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51" y="4813200"/>
            <a:ext cx="7669212" cy="162000"/>
          </a:xfrm>
          <a:prstGeom prst="rect">
            <a:avLst/>
          </a:prstGeom>
        </p:spPr>
        <p:txBody>
          <a:bodyPr/>
          <a:lstStyle/>
          <a:p>
            <a:pPr defTabSz="914368"/>
            <a:r>
              <a:rPr lang="fr-FR" sz="1800">
                <a:solidFill>
                  <a:srgbClr val="3C3732"/>
                </a:solidFill>
              </a:rPr>
              <a:t>mardi 27 janvier 2015</a:t>
            </a: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>
          <a:xfrm>
            <a:off x="179387" y="4813200"/>
            <a:ext cx="360363" cy="162000"/>
          </a:xfrm>
          <a:prstGeom prst="rect">
            <a:avLst/>
          </a:prstGeom>
        </p:spPr>
        <p:txBody>
          <a:bodyPr/>
          <a:lstStyle/>
          <a:p>
            <a:pPr defTabSz="914368"/>
            <a:fld id="{733122C9-A0B9-462F-8757-0847AD287B63}" type="slidenum">
              <a:rPr lang="fr-FR" sz="1800" smtClean="0">
                <a:solidFill>
                  <a:srgbClr val="3C3732"/>
                </a:solidFill>
              </a:rPr>
              <a:pPr defTabSz="914368"/>
              <a:t>‹N°›</a:t>
            </a:fld>
            <a:endParaRPr lang="fr-FR" sz="1800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179390" y="4659313"/>
            <a:ext cx="8029575" cy="162018"/>
          </a:xfrm>
          <a:prstGeom prst="rect">
            <a:avLst/>
          </a:prstGeom>
        </p:spPr>
        <p:txBody>
          <a:bodyPr/>
          <a:lstStyle/>
          <a:p>
            <a:pPr defTabSz="914368"/>
            <a:r>
              <a:rPr lang="fr-FR" sz="1800">
                <a:solidFill>
                  <a:srgbClr val="3C3732"/>
                </a:solidFill>
              </a:rPr>
              <a:t>Flash Report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2" y="950913"/>
            <a:ext cx="80645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5"/>
          </p:nvPr>
        </p:nvSpPr>
        <p:spPr bwMode="gray">
          <a:xfrm>
            <a:off x="5652122" y="1743078"/>
            <a:ext cx="2952132" cy="190857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12718066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_tableau_typ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51" y="4813200"/>
            <a:ext cx="7669212" cy="162000"/>
          </a:xfrm>
          <a:prstGeom prst="rect">
            <a:avLst/>
          </a:prstGeom>
        </p:spPr>
        <p:txBody>
          <a:bodyPr/>
          <a:lstStyle/>
          <a:p>
            <a:pPr defTabSz="914368"/>
            <a:r>
              <a:rPr lang="fr-FR" sz="1800">
                <a:solidFill>
                  <a:srgbClr val="3C3732"/>
                </a:solidFill>
              </a:rPr>
              <a:t>mardi 27 janvier 2015</a:t>
            </a: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>
          <a:xfrm>
            <a:off x="179387" y="4813200"/>
            <a:ext cx="360363" cy="162000"/>
          </a:xfrm>
          <a:prstGeom prst="rect">
            <a:avLst/>
          </a:prstGeom>
        </p:spPr>
        <p:txBody>
          <a:bodyPr/>
          <a:lstStyle/>
          <a:p>
            <a:pPr defTabSz="914368"/>
            <a:fld id="{733122C9-A0B9-462F-8757-0847AD287B63}" type="slidenum">
              <a:rPr lang="fr-FR" sz="1800" smtClean="0">
                <a:solidFill>
                  <a:srgbClr val="3C3732"/>
                </a:solidFill>
              </a:rPr>
              <a:pPr defTabSz="914368"/>
              <a:t>‹N°›</a:t>
            </a:fld>
            <a:endParaRPr lang="fr-FR" sz="1800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179390" y="4659313"/>
            <a:ext cx="8029575" cy="162018"/>
          </a:xfrm>
          <a:prstGeom prst="rect">
            <a:avLst/>
          </a:prstGeom>
        </p:spPr>
        <p:txBody>
          <a:bodyPr/>
          <a:lstStyle/>
          <a:p>
            <a:pPr defTabSz="914368"/>
            <a:r>
              <a:rPr lang="fr-FR" sz="1800">
                <a:solidFill>
                  <a:srgbClr val="3C3732"/>
                </a:solidFill>
              </a:rPr>
              <a:t>Flash Report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2" y="950913"/>
            <a:ext cx="80645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du tableau 12"/>
          <p:cNvSpPr>
            <a:spLocks noGrp="1"/>
          </p:cNvSpPr>
          <p:nvPr>
            <p:ph type="tbl" sz="quarter" idx="14"/>
          </p:nvPr>
        </p:nvSpPr>
        <p:spPr bwMode="gray">
          <a:xfrm>
            <a:off x="539752" y="1779588"/>
            <a:ext cx="8064500" cy="2340000"/>
          </a:xfrm>
        </p:spPr>
        <p:txBody>
          <a:bodyPr tIns="719976" anchor="ctr" anchorCtr="0"/>
          <a:lstStyle>
            <a:lvl1pPr algn="ctr">
              <a:spcAft>
                <a:spcPts val="0"/>
              </a:spcAft>
              <a:defRPr b="0" cap="all" baseline="0"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987675" y="4146620"/>
            <a:ext cx="900000" cy="216000"/>
          </a:xfr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8" name="Espace réservé du texte 16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807804" y="4209318"/>
            <a:ext cx="93600" cy="93600"/>
          </a:xfrm>
          <a:prstGeom prst="ellipse">
            <a:avLst/>
          </a:prstGeom>
          <a:solidFill>
            <a:schemeClr val="accent1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9" name="Espace réservé du texte 16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166818" y="4146620"/>
            <a:ext cx="900000" cy="216000"/>
          </a:xfr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0" name="Espace réservé du texte 1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986948" y="4209318"/>
            <a:ext cx="93600" cy="93600"/>
          </a:xfrm>
          <a:prstGeom prst="ellipse">
            <a:avLst/>
          </a:prstGeom>
          <a:solidFill>
            <a:schemeClr val="accent2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1" name="Espace réservé du texte 16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345963" y="4146620"/>
            <a:ext cx="900000" cy="216000"/>
          </a:xfr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2" name="Espace réservé du texte 1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166092" y="4209318"/>
            <a:ext cx="93600" cy="93600"/>
          </a:xfrm>
          <a:prstGeom prst="ellipse">
            <a:avLst/>
          </a:prstGeom>
          <a:solidFill>
            <a:schemeClr val="accent4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3" name="Espace réservé du texte 16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525106" y="4146620"/>
            <a:ext cx="900000" cy="216000"/>
          </a:xfr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4" name="Espace réservé du texte 16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345236" y="4209318"/>
            <a:ext cx="93600" cy="93600"/>
          </a:xfrm>
          <a:prstGeom prst="ellipse">
            <a:avLst/>
          </a:prstGeom>
          <a:solidFill>
            <a:schemeClr val="accent5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5" name="Espace réservé du texte 16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704251" y="4146620"/>
            <a:ext cx="900000" cy="216000"/>
          </a:xfr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6" name="Espace réservé du texte 16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7524380" y="4209318"/>
            <a:ext cx="93600" cy="93600"/>
          </a:xfrm>
          <a:prstGeom prst="ellipse">
            <a:avLst/>
          </a:prstGeom>
          <a:solidFill>
            <a:schemeClr val="bg2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305293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5"/>
            <a:ext cx="7886700" cy="2139552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fr-FR"/>
              <a:t>Cliquez et modifiez le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7"/>
            <a:ext cx="7886700" cy="1125141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3"/>
          </a:xfrm>
          <a:prstGeom prst="rect">
            <a:avLst/>
          </a:prstGeom>
        </p:spPr>
        <p:txBody>
          <a:bodyPr/>
          <a:lstStyle/>
          <a:p>
            <a:fld id="{D91DC166-3F88-4849-A61A-AD75C82AAE0A}" type="datetimeFigureOut">
              <a:rPr lang="fr-FR" smtClean="0"/>
              <a:t>17/01/202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3"/>
          </a:xfrm>
          <a:prstGeom prst="rect">
            <a:avLst/>
          </a:prstGeom>
        </p:spPr>
        <p:txBody>
          <a:bodyPr/>
          <a:lstStyle/>
          <a:p>
            <a:fld id="{44AC34E9-4D80-9947-9379-C8B62DEAC814}" type="slidenum">
              <a:rPr lang="fr-FR" smtClean="0"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_tableau_typ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51" y="4813200"/>
            <a:ext cx="7669212" cy="162000"/>
          </a:xfrm>
          <a:prstGeom prst="rect">
            <a:avLst/>
          </a:prstGeom>
        </p:spPr>
        <p:txBody>
          <a:bodyPr/>
          <a:lstStyle/>
          <a:p>
            <a:pPr defTabSz="914368"/>
            <a:r>
              <a:rPr lang="fr-FR" sz="1800">
                <a:solidFill>
                  <a:srgbClr val="3C3732"/>
                </a:solidFill>
              </a:rPr>
              <a:t>mardi 27 janvier 2015</a:t>
            </a: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>
          <a:xfrm>
            <a:off x="179387" y="4813200"/>
            <a:ext cx="360363" cy="162000"/>
          </a:xfrm>
          <a:prstGeom prst="rect">
            <a:avLst/>
          </a:prstGeom>
        </p:spPr>
        <p:txBody>
          <a:bodyPr/>
          <a:lstStyle/>
          <a:p>
            <a:pPr defTabSz="914368"/>
            <a:fld id="{733122C9-A0B9-462F-8757-0847AD287B63}" type="slidenum">
              <a:rPr lang="fr-FR" sz="1800" smtClean="0">
                <a:solidFill>
                  <a:srgbClr val="3C3732"/>
                </a:solidFill>
              </a:rPr>
              <a:pPr defTabSz="914368"/>
              <a:t>‹N°›</a:t>
            </a:fld>
            <a:endParaRPr lang="fr-FR" sz="1800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179390" y="4659313"/>
            <a:ext cx="8029575" cy="162018"/>
          </a:xfrm>
          <a:prstGeom prst="rect">
            <a:avLst/>
          </a:prstGeom>
        </p:spPr>
        <p:txBody>
          <a:bodyPr/>
          <a:lstStyle/>
          <a:p>
            <a:pPr defTabSz="914368"/>
            <a:r>
              <a:rPr lang="fr-FR" sz="1800">
                <a:solidFill>
                  <a:srgbClr val="3C3732"/>
                </a:solidFill>
              </a:rPr>
              <a:t>Flash Report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2" y="950913"/>
            <a:ext cx="80645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tabLst/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du tableau 12"/>
          <p:cNvSpPr>
            <a:spLocks noGrp="1"/>
          </p:cNvSpPr>
          <p:nvPr>
            <p:ph type="tbl" sz="quarter" idx="14"/>
          </p:nvPr>
        </p:nvSpPr>
        <p:spPr bwMode="gray">
          <a:xfrm>
            <a:off x="539752" y="1779588"/>
            <a:ext cx="8064500" cy="2160000"/>
          </a:xfrm>
        </p:spPr>
        <p:txBody>
          <a:bodyPr tIns="719976" anchor="ctr" anchorCtr="0"/>
          <a:lstStyle>
            <a:lvl1pPr algn="ctr">
              <a:spcAft>
                <a:spcPts val="0"/>
              </a:spcAft>
              <a:defRPr b="0" cap="all" baseline="0"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987675" y="4148070"/>
            <a:ext cx="900000" cy="216000"/>
          </a:xfr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8" name="Espace réservé du texte 16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807804" y="4209318"/>
            <a:ext cx="93600" cy="93600"/>
          </a:xfrm>
          <a:prstGeom prst="ellipse">
            <a:avLst/>
          </a:prstGeom>
          <a:solidFill>
            <a:schemeClr val="accent6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9" name="Espace réservé du texte 16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166818" y="4148070"/>
            <a:ext cx="900000" cy="216000"/>
          </a:xfr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0" name="Espace réservé du texte 1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986948" y="4209318"/>
            <a:ext cx="93600" cy="93600"/>
          </a:xfrm>
          <a:prstGeom prst="ellipse">
            <a:avLst/>
          </a:prstGeom>
          <a:solidFill>
            <a:schemeClr val="accent2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1" name="Espace réservé du texte 16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345963" y="4148070"/>
            <a:ext cx="900000" cy="216000"/>
          </a:xfr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2" name="Espace réservé du texte 1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166092" y="4209318"/>
            <a:ext cx="93600" cy="93600"/>
          </a:xfrm>
          <a:prstGeom prst="ellipse">
            <a:avLst/>
          </a:prstGeom>
          <a:solidFill>
            <a:schemeClr val="accent4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3" name="Espace réservé du texte 16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525106" y="4148070"/>
            <a:ext cx="900000" cy="216000"/>
          </a:xfr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4" name="Espace réservé du texte 16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345236" y="4209318"/>
            <a:ext cx="93600" cy="93600"/>
          </a:xfrm>
          <a:prstGeom prst="ellipse">
            <a:avLst/>
          </a:prstGeom>
          <a:solidFill>
            <a:schemeClr val="accent5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5" name="Espace réservé du texte 16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704251" y="4148070"/>
            <a:ext cx="900000" cy="216000"/>
          </a:xfr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6" name="Espace réservé du texte 16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7524380" y="4209318"/>
            <a:ext cx="93600" cy="93600"/>
          </a:xfrm>
          <a:prstGeom prst="ellipse">
            <a:avLst/>
          </a:prstGeom>
          <a:solidFill>
            <a:schemeClr val="bg2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1839976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&amp;_cartouche_dro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1" y="1743075"/>
            <a:ext cx="3960000" cy="273685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51" y="4813200"/>
            <a:ext cx="7669212" cy="162000"/>
          </a:xfrm>
          <a:prstGeom prst="rect">
            <a:avLst/>
          </a:prstGeom>
        </p:spPr>
        <p:txBody>
          <a:bodyPr/>
          <a:lstStyle/>
          <a:p>
            <a:pPr defTabSz="914368"/>
            <a:r>
              <a:rPr lang="fr-FR" sz="1800">
                <a:solidFill>
                  <a:srgbClr val="3C3732"/>
                </a:solidFill>
              </a:rPr>
              <a:t>mardi 27 janvier 2015</a:t>
            </a: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>
          <a:xfrm>
            <a:off x="179387" y="4813200"/>
            <a:ext cx="360363" cy="162000"/>
          </a:xfrm>
          <a:prstGeom prst="rect">
            <a:avLst/>
          </a:prstGeom>
        </p:spPr>
        <p:txBody>
          <a:bodyPr/>
          <a:lstStyle/>
          <a:p>
            <a:pPr defTabSz="914368"/>
            <a:fld id="{733122C9-A0B9-462F-8757-0847AD287B63}" type="slidenum">
              <a:rPr lang="fr-FR" sz="1800" smtClean="0">
                <a:solidFill>
                  <a:srgbClr val="3C3732"/>
                </a:solidFill>
              </a:rPr>
              <a:pPr defTabSz="914368"/>
              <a:t>‹N°›</a:t>
            </a:fld>
            <a:endParaRPr lang="fr-FR" sz="1800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179390" y="4659313"/>
            <a:ext cx="8029575" cy="162018"/>
          </a:xfrm>
          <a:prstGeom prst="rect">
            <a:avLst/>
          </a:prstGeom>
        </p:spPr>
        <p:txBody>
          <a:bodyPr/>
          <a:lstStyle/>
          <a:p>
            <a:pPr defTabSz="914368"/>
            <a:r>
              <a:rPr lang="fr-FR" sz="1800">
                <a:solidFill>
                  <a:srgbClr val="3C3732"/>
                </a:solidFill>
              </a:rPr>
              <a:t>Flash Report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2" y="950913"/>
            <a:ext cx="80645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/>
          </p:nvPr>
        </p:nvSpPr>
        <p:spPr bwMode="gray">
          <a:xfrm>
            <a:off x="4644251" y="1779588"/>
            <a:ext cx="3960000" cy="486000"/>
          </a:xfrm>
          <a:solidFill>
            <a:schemeClr val="accent1"/>
          </a:solidFill>
        </p:spPr>
        <p:txBody>
          <a:bodyPr lIns="287990" tIns="18000" rIns="71997" bIns="0" anchor="ctr" anchorCtr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b="0" cap="all" baseline="0">
                <a:solidFill>
                  <a:schemeClr val="bg1"/>
                </a:solidFill>
                <a:latin typeface="Avenir LT Std 65 Medium" pitchFamily="34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du texte 11"/>
          <p:cNvSpPr>
            <a:spLocks noGrp="1"/>
          </p:cNvSpPr>
          <p:nvPr>
            <p:ph type="body" sz="quarter" idx="15"/>
          </p:nvPr>
        </p:nvSpPr>
        <p:spPr bwMode="gray">
          <a:xfrm>
            <a:off x="4644251" y="2355727"/>
            <a:ext cx="3960000" cy="1944812"/>
          </a:xfrm>
          <a:solidFill>
            <a:schemeClr val="accent1"/>
          </a:solidFill>
        </p:spPr>
        <p:txBody>
          <a:bodyPr wrap="square" lIns="143995" tIns="71997" rIns="71997" bIns="71997" anchor="t" anchorCtr="0">
            <a:noAutofit/>
          </a:bodyPr>
          <a:lstStyle>
            <a:lvl1pPr marL="143995" indent="-143995">
              <a:buFont typeface="Avenir LT Std 45 Book" pitchFamily="34" charset="0"/>
              <a:buChar char="+"/>
              <a:defRPr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00526045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&amp;_cartouche_gau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4824251" y="1156816"/>
            <a:ext cx="3780000" cy="3323111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51" y="4813200"/>
            <a:ext cx="7669212" cy="162000"/>
          </a:xfrm>
          <a:prstGeom prst="rect">
            <a:avLst/>
          </a:prstGeom>
        </p:spPr>
        <p:txBody>
          <a:bodyPr/>
          <a:lstStyle/>
          <a:p>
            <a:pPr defTabSz="914368"/>
            <a:r>
              <a:rPr lang="fr-FR" sz="1800">
                <a:solidFill>
                  <a:srgbClr val="3C3732"/>
                </a:solidFill>
              </a:rPr>
              <a:t>mardi 27 janvier 2015</a:t>
            </a: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>
          <a:xfrm>
            <a:off x="179387" y="4813200"/>
            <a:ext cx="360363" cy="162000"/>
          </a:xfrm>
          <a:prstGeom prst="rect">
            <a:avLst/>
          </a:prstGeom>
        </p:spPr>
        <p:txBody>
          <a:bodyPr/>
          <a:lstStyle/>
          <a:p>
            <a:pPr defTabSz="914368"/>
            <a:fld id="{733122C9-A0B9-462F-8757-0847AD287B63}" type="slidenum">
              <a:rPr lang="fr-FR" sz="1800" smtClean="0">
                <a:solidFill>
                  <a:srgbClr val="3C3732"/>
                </a:solidFill>
              </a:rPr>
              <a:pPr defTabSz="914368"/>
              <a:t>‹N°›</a:t>
            </a:fld>
            <a:endParaRPr lang="fr-FR" sz="1800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179390" y="4659313"/>
            <a:ext cx="8029575" cy="162018"/>
          </a:xfrm>
          <a:prstGeom prst="rect">
            <a:avLst/>
          </a:prstGeom>
        </p:spPr>
        <p:txBody>
          <a:bodyPr/>
          <a:lstStyle/>
          <a:p>
            <a:pPr defTabSz="914368"/>
            <a:r>
              <a:rPr lang="fr-FR" sz="1800">
                <a:solidFill>
                  <a:srgbClr val="3C3732"/>
                </a:solidFill>
              </a:rPr>
              <a:t>Flash Report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/>
          </p:nvPr>
        </p:nvSpPr>
        <p:spPr bwMode="gray">
          <a:xfrm>
            <a:off x="539749" y="519523"/>
            <a:ext cx="3780000" cy="3781016"/>
          </a:xfrm>
          <a:solidFill>
            <a:schemeClr val="accent1"/>
          </a:solidFill>
        </p:spPr>
        <p:txBody>
          <a:bodyPr lIns="287990" tIns="629978" rIns="71997" bIns="107996" anchor="t" anchorCtr="0">
            <a:noAutofit/>
          </a:bodyPr>
          <a:lstStyle>
            <a:lvl1pPr marL="215992" indent="-215992">
              <a:lnSpc>
                <a:spcPct val="90000"/>
              </a:lnSpc>
              <a:spcAft>
                <a:spcPts val="0"/>
              </a:spcAft>
              <a:buFont typeface="Avenir LT Std 65 Medium" pitchFamily="34" charset="0"/>
              <a:buChar char="+"/>
              <a:defRPr sz="2200" b="0" cap="all" baseline="0">
                <a:solidFill>
                  <a:schemeClr val="bg1"/>
                </a:solidFill>
                <a:latin typeface="Avenir LT Std 65 Medium" pitchFamily="34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6871854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_&amp;_2_cartouch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51" y="4813200"/>
            <a:ext cx="7669212" cy="162000"/>
          </a:xfrm>
          <a:prstGeom prst="rect">
            <a:avLst/>
          </a:prstGeom>
        </p:spPr>
        <p:txBody>
          <a:bodyPr/>
          <a:lstStyle/>
          <a:p>
            <a:pPr defTabSz="914368"/>
            <a:r>
              <a:rPr lang="fr-FR" sz="1800">
                <a:solidFill>
                  <a:srgbClr val="3C3732"/>
                </a:solidFill>
              </a:rPr>
              <a:t>mardi 27 janvier 2015</a:t>
            </a: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>
          <a:xfrm>
            <a:off x="179387" y="4813200"/>
            <a:ext cx="360363" cy="162000"/>
          </a:xfrm>
          <a:prstGeom prst="rect">
            <a:avLst/>
          </a:prstGeom>
        </p:spPr>
        <p:txBody>
          <a:bodyPr/>
          <a:lstStyle/>
          <a:p>
            <a:pPr defTabSz="914368"/>
            <a:fld id="{733122C9-A0B9-462F-8757-0847AD287B63}" type="slidenum">
              <a:rPr lang="fr-FR" sz="1800" smtClean="0">
                <a:solidFill>
                  <a:srgbClr val="3C3732"/>
                </a:solidFill>
              </a:rPr>
              <a:pPr defTabSz="914368"/>
              <a:t>‹N°›</a:t>
            </a:fld>
            <a:endParaRPr lang="fr-FR" sz="1800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179390" y="4659313"/>
            <a:ext cx="8029575" cy="162018"/>
          </a:xfrm>
          <a:prstGeom prst="rect">
            <a:avLst/>
          </a:prstGeom>
        </p:spPr>
        <p:txBody>
          <a:bodyPr/>
          <a:lstStyle/>
          <a:p>
            <a:pPr defTabSz="914368"/>
            <a:r>
              <a:rPr lang="fr-FR" sz="1800">
                <a:solidFill>
                  <a:srgbClr val="3C3732"/>
                </a:solidFill>
              </a:rPr>
              <a:t>Flash Report</a:t>
            </a:r>
          </a:p>
        </p:txBody>
      </p:sp>
      <p:sp>
        <p:nvSpPr>
          <p:cNvPr id="13" name="Espace réservé du texte 11"/>
          <p:cNvSpPr>
            <a:spLocks noGrp="1"/>
          </p:cNvSpPr>
          <p:nvPr>
            <p:ph type="body" sz="quarter" idx="15"/>
          </p:nvPr>
        </p:nvSpPr>
        <p:spPr bwMode="gray">
          <a:xfrm>
            <a:off x="4824251" y="519114"/>
            <a:ext cx="3780000" cy="3781425"/>
          </a:xfrm>
          <a:noFill/>
        </p:spPr>
        <p:txBody>
          <a:bodyPr lIns="0" tIns="35998" rIns="0" bIns="0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2200" b="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930340" y="2049826"/>
            <a:ext cx="720000" cy="720000"/>
          </a:xfrm>
          <a:prstGeom prst="diamond">
            <a:avLst/>
          </a:prstGeom>
          <a:solidFill>
            <a:schemeClr val="accent1"/>
          </a:solidFill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100" b="0" cap="all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/>
          </p:nvPr>
        </p:nvSpPr>
        <p:spPr bwMode="gray">
          <a:xfrm>
            <a:off x="539749" y="519115"/>
            <a:ext cx="3780000" cy="3781424"/>
          </a:xfrm>
          <a:solidFill>
            <a:schemeClr val="accent1"/>
          </a:solidFill>
        </p:spPr>
        <p:txBody>
          <a:bodyPr lIns="287990" tIns="143995" rIns="71997" bIns="107996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22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18602479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artouches_petites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9751" y="2427456"/>
            <a:ext cx="2520082" cy="1873085"/>
          </a:xfrm>
          <a:solidFill>
            <a:srgbClr val="D7D7D7"/>
          </a:solidFill>
        </p:spPr>
        <p:txBody>
          <a:bodyPr lIns="143995" tIns="1007966" rIns="71997" bIns="35998" anchor="t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1200" b="0" cap="all" baseline="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51" y="4813200"/>
            <a:ext cx="7669212" cy="162000"/>
          </a:xfrm>
          <a:prstGeom prst="rect">
            <a:avLst/>
          </a:prstGeom>
        </p:spPr>
        <p:txBody>
          <a:bodyPr/>
          <a:lstStyle/>
          <a:p>
            <a:pPr defTabSz="914368"/>
            <a:r>
              <a:rPr lang="fr-FR" sz="1800">
                <a:solidFill>
                  <a:srgbClr val="3C3732"/>
                </a:solidFill>
              </a:rPr>
              <a:t>mardi 27 janvier 2015</a:t>
            </a: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>
          <a:xfrm>
            <a:off x="179387" y="4813200"/>
            <a:ext cx="360363" cy="162000"/>
          </a:xfrm>
          <a:prstGeom prst="rect">
            <a:avLst/>
          </a:prstGeom>
        </p:spPr>
        <p:txBody>
          <a:bodyPr/>
          <a:lstStyle/>
          <a:p>
            <a:pPr defTabSz="914368"/>
            <a:fld id="{733122C9-A0B9-462F-8757-0847AD287B63}" type="slidenum">
              <a:rPr lang="fr-FR" sz="1800" smtClean="0">
                <a:solidFill>
                  <a:srgbClr val="3C3732"/>
                </a:solidFill>
              </a:rPr>
              <a:pPr defTabSz="914368"/>
              <a:t>‹N°›</a:t>
            </a:fld>
            <a:endParaRPr lang="fr-FR" sz="1800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179390" y="4659313"/>
            <a:ext cx="8029575" cy="162018"/>
          </a:xfrm>
          <a:prstGeom prst="rect">
            <a:avLst/>
          </a:prstGeom>
        </p:spPr>
        <p:txBody>
          <a:bodyPr/>
          <a:lstStyle/>
          <a:p>
            <a:pPr defTabSz="914368"/>
            <a:r>
              <a:rPr lang="fr-FR" sz="1800">
                <a:solidFill>
                  <a:srgbClr val="3C3732"/>
                </a:solidFill>
              </a:rPr>
              <a:t>Flash Report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2" y="950913"/>
            <a:ext cx="80645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39751" y="1779588"/>
            <a:ext cx="2520082" cy="648000"/>
          </a:xfrm>
          <a:solidFill>
            <a:schemeClr val="accent1"/>
          </a:solidFill>
        </p:spPr>
        <p:txBody>
          <a:bodyPr lIns="143995" tIns="71997" rIns="71997" bIns="35998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0. titre</a:t>
            </a:r>
          </a:p>
        </p:txBody>
      </p:sp>
      <p:sp>
        <p:nvSpPr>
          <p:cNvPr id="17" name="Espace réservé pour une image  10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83568" y="2499833"/>
            <a:ext cx="828000" cy="828000"/>
          </a:xfrm>
          <a:prstGeom prst="rect">
            <a:avLst/>
          </a:prstGeom>
          <a:noFill/>
        </p:spPr>
        <p:txBody>
          <a:bodyPr lIns="0" tIns="0" rIns="0" anchor="ctr" anchorCtr="0"/>
          <a:lstStyle>
            <a:lvl1pPr algn="ctr">
              <a:defRPr sz="800" b="0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fr-FR"/>
              <a:t>Sélectionner l’icône pour insérer une image (format 23 x 23 mm)</a:t>
            </a:r>
          </a:p>
        </p:txBody>
      </p:sp>
      <p:sp>
        <p:nvSpPr>
          <p:cNvPr id="18" name="Espace réservé du texte 11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311961" y="2427457"/>
            <a:ext cx="2520082" cy="1873085"/>
          </a:xfrm>
          <a:solidFill>
            <a:srgbClr val="D7D7D7"/>
          </a:solidFill>
        </p:spPr>
        <p:txBody>
          <a:bodyPr lIns="143995" tIns="1007966" rIns="71997" bIns="35998" anchor="t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1200" b="0" cap="all" baseline="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9" name="Espace réservé du texte 11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311961" y="1779589"/>
            <a:ext cx="2520082" cy="648000"/>
          </a:xfrm>
          <a:solidFill>
            <a:schemeClr val="accent1"/>
          </a:solidFill>
        </p:spPr>
        <p:txBody>
          <a:bodyPr lIns="143995" tIns="71997" rIns="71997" bIns="35998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0. titre</a:t>
            </a:r>
          </a:p>
        </p:txBody>
      </p:sp>
      <p:sp>
        <p:nvSpPr>
          <p:cNvPr id="20" name="Espace réservé pour une image  10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3455778" y="2499834"/>
            <a:ext cx="828000" cy="828000"/>
          </a:xfrm>
          <a:prstGeom prst="rect">
            <a:avLst/>
          </a:prstGeom>
          <a:noFill/>
        </p:spPr>
        <p:txBody>
          <a:bodyPr lIns="0" tIns="0" rIns="0" anchor="ctr" anchorCtr="0"/>
          <a:lstStyle>
            <a:lvl1pPr algn="ctr">
              <a:defRPr sz="800" b="0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fr-FR"/>
              <a:t>Sélectionner l’icône pour insérer une image (format 23 x 23 mm)</a:t>
            </a:r>
          </a:p>
        </p:txBody>
      </p:sp>
      <p:sp>
        <p:nvSpPr>
          <p:cNvPr id="21" name="Espace réservé du texte 11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084169" y="2427457"/>
            <a:ext cx="2520082" cy="1873085"/>
          </a:xfrm>
          <a:solidFill>
            <a:schemeClr val="accent1"/>
          </a:solidFill>
        </p:spPr>
        <p:txBody>
          <a:bodyPr lIns="143995" tIns="1007966" rIns="71997" bIns="35998" anchor="t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1200" b="0" cap="all" baseline="0">
                <a:solidFill>
                  <a:schemeClr val="bg1"/>
                </a:solidFill>
                <a:latin typeface="Avenir LT Std 35 Light" pitchFamily="34" charset="0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2" name="Espace réservé du texte 11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084169" y="1779589"/>
            <a:ext cx="2520082" cy="648000"/>
          </a:xfrm>
          <a:solidFill>
            <a:schemeClr val="accent1"/>
          </a:solidFill>
        </p:spPr>
        <p:txBody>
          <a:bodyPr lIns="143995" tIns="71997" rIns="71997" bIns="35998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0. titre</a:t>
            </a:r>
          </a:p>
        </p:txBody>
      </p:sp>
      <p:sp>
        <p:nvSpPr>
          <p:cNvPr id="23" name="Espace réservé pour une image  10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6227986" y="2499834"/>
            <a:ext cx="828000" cy="828000"/>
          </a:xfrm>
          <a:prstGeom prst="rect">
            <a:avLst/>
          </a:prstGeom>
          <a:noFill/>
        </p:spPr>
        <p:txBody>
          <a:bodyPr lIns="0" tIns="0" rIns="0" anchor="ctr" anchorCtr="0"/>
          <a:lstStyle>
            <a:lvl1pPr algn="ctr">
              <a:defRPr sz="800" b="0" cap="all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/>
              <a:t>Sélectionner l’icône pour insérer une image (format 23 x 23 mm)</a:t>
            </a:r>
          </a:p>
        </p:txBody>
      </p:sp>
    </p:spTree>
    <p:extLst>
      <p:ext uri="{BB962C8B-B14F-4D97-AF65-F5344CB8AC3E}">
        <p14:creationId xmlns:p14="http://schemas.microsoft.com/office/powerpoint/2010/main" val="81588459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artouches_grandes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51" y="4813200"/>
            <a:ext cx="7669212" cy="162000"/>
          </a:xfrm>
          <a:prstGeom prst="rect">
            <a:avLst/>
          </a:prstGeom>
        </p:spPr>
        <p:txBody>
          <a:bodyPr/>
          <a:lstStyle/>
          <a:p>
            <a:pPr defTabSz="914368"/>
            <a:r>
              <a:rPr lang="fr-FR" sz="1800">
                <a:solidFill>
                  <a:srgbClr val="3C3732"/>
                </a:solidFill>
              </a:rPr>
              <a:t>mardi 27 janvier 2015</a:t>
            </a: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>
          <a:xfrm>
            <a:off x="179387" y="4813200"/>
            <a:ext cx="360363" cy="162000"/>
          </a:xfrm>
          <a:prstGeom prst="rect">
            <a:avLst/>
          </a:prstGeom>
        </p:spPr>
        <p:txBody>
          <a:bodyPr/>
          <a:lstStyle/>
          <a:p>
            <a:pPr defTabSz="914368"/>
            <a:fld id="{733122C9-A0B9-462F-8757-0847AD287B63}" type="slidenum">
              <a:rPr lang="fr-FR" sz="1800" smtClean="0">
                <a:solidFill>
                  <a:srgbClr val="3C3732"/>
                </a:solidFill>
              </a:rPr>
              <a:pPr defTabSz="914368"/>
              <a:t>‹N°›</a:t>
            </a:fld>
            <a:endParaRPr lang="fr-FR" sz="1800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179390" y="4659313"/>
            <a:ext cx="8029575" cy="162018"/>
          </a:xfrm>
          <a:prstGeom prst="rect">
            <a:avLst/>
          </a:prstGeom>
        </p:spPr>
        <p:txBody>
          <a:bodyPr/>
          <a:lstStyle/>
          <a:p>
            <a:pPr defTabSz="914368"/>
            <a:r>
              <a:rPr lang="fr-FR" sz="1800">
                <a:solidFill>
                  <a:srgbClr val="3C3732"/>
                </a:solidFill>
              </a:rPr>
              <a:t>Flash Report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2" y="950913"/>
            <a:ext cx="80645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39751" y="1779588"/>
            <a:ext cx="2520082" cy="648000"/>
          </a:xfrm>
          <a:solidFill>
            <a:schemeClr val="accent1"/>
          </a:solidFill>
        </p:spPr>
        <p:txBody>
          <a:bodyPr lIns="143995" tIns="71997" rIns="71997" bIns="35998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0. titre</a:t>
            </a:r>
          </a:p>
        </p:txBody>
      </p:sp>
      <p:sp>
        <p:nvSpPr>
          <p:cNvPr id="17" name="Espace réservé pour une image  10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539831" y="2427589"/>
            <a:ext cx="2520000" cy="1872950"/>
          </a:xfrm>
          <a:prstGeom prst="rect">
            <a:avLst/>
          </a:prstGeom>
          <a:solidFill>
            <a:srgbClr val="D7D7D7"/>
          </a:solidFill>
        </p:spPr>
        <p:txBody>
          <a:bodyPr lIns="35998" tIns="971967" rIns="35998" anchor="ctr" anchorCtr="0"/>
          <a:lstStyle>
            <a:lvl1pPr algn="ctr">
              <a:defRPr sz="1300" b="0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fr-FR"/>
              <a:t>Sélectionner l’icône pour insérer une image format ( 70 x 52 mm)</a:t>
            </a:r>
          </a:p>
        </p:txBody>
      </p:sp>
      <p:sp>
        <p:nvSpPr>
          <p:cNvPr id="25" name="Espace réservé du texte 11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311961" y="1779588"/>
            <a:ext cx="2520082" cy="648000"/>
          </a:xfrm>
          <a:solidFill>
            <a:schemeClr val="accent1"/>
          </a:solidFill>
        </p:spPr>
        <p:txBody>
          <a:bodyPr lIns="143995" tIns="71997" rIns="71997" bIns="35998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0. titre</a:t>
            </a:r>
          </a:p>
        </p:txBody>
      </p:sp>
      <p:sp>
        <p:nvSpPr>
          <p:cNvPr id="26" name="Espace réservé pour une image  10"/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3312041" y="2427589"/>
            <a:ext cx="2520000" cy="1872950"/>
          </a:xfrm>
          <a:prstGeom prst="rect">
            <a:avLst/>
          </a:prstGeom>
          <a:solidFill>
            <a:srgbClr val="D7D7D7"/>
          </a:solidFill>
        </p:spPr>
        <p:txBody>
          <a:bodyPr lIns="35998" tIns="971967" rIns="35998" anchor="ctr" anchorCtr="0"/>
          <a:lstStyle>
            <a:lvl1pPr algn="ctr">
              <a:defRPr sz="1300" b="0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fr-FR"/>
              <a:t>Sélectionner l’icône pour insérer une image format ( 70 x 52 mm)</a:t>
            </a:r>
          </a:p>
        </p:txBody>
      </p:sp>
      <p:sp>
        <p:nvSpPr>
          <p:cNvPr id="27" name="Espace réservé du texte 11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084169" y="1779588"/>
            <a:ext cx="2520082" cy="648000"/>
          </a:xfrm>
          <a:solidFill>
            <a:schemeClr val="accent1"/>
          </a:solidFill>
        </p:spPr>
        <p:txBody>
          <a:bodyPr lIns="143995" tIns="71997" rIns="71997" bIns="35998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0. titre</a:t>
            </a:r>
          </a:p>
        </p:txBody>
      </p:sp>
      <p:sp>
        <p:nvSpPr>
          <p:cNvPr id="28" name="Espace réservé pour une image  10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6084251" y="2427589"/>
            <a:ext cx="2520000" cy="1872950"/>
          </a:xfrm>
          <a:prstGeom prst="rect">
            <a:avLst/>
          </a:prstGeom>
          <a:solidFill>
            <a:srgbClr val="D7D7D7"/>
          </a:solidFill>
        </p:spPr>
        <p:txBody>
          <a:bodyPr lIns="35998" tIns="971967" rIns="35998" anchor="ctr" anchorCtr="0"/>
          <a:lstStyle>
            <a:lvl1pPr algn="ctr">
              <a:defRPr sz="1300" b="0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fr-FR"/>
              <a:t>Sélectionner l’icône pour insérer une image format ( 70 x 52 mm)</a:t>
            </a:r>
          </a:p>
        </p:txBody>
      </p:sp>
    </p:spTree>
    <p:extLst>
      <p:ext uri="{BB962C8B-B14F-4D97-AF65-F5344CB8AC3E}">
        <p14:creationId xmlns:p14="http://schemas.microsoft.com/office/powerpoint/2010/main" val="86091629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ta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51" y="4813200"/>
            <a:ext cx="7669212" cy="162000"/>
          </a:xfrm>
          <a:prstGeom prst="rect">
            <a:avLst/>
          </a:prstGeom>
        </p:spPr>
        <p:txBody>
          <a:bodyPr/>
          <a:lstStyle/>
          <a:p>
            <a:pPr defTabSz="914368"/>
            <a:r>
              <a:rPr lang="fr-FR" sz="1800">
                <a:solidFill>
                  <a:srgbClr val="3C3732"/>
                </a:solidFill>
              </a:rPr>
              <a:t>mardi 27 janvier 2015</a:t>
            </a: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>
          <a:xfrm>
            <a:off x="179387" y="4813200"/>
            <a:ext cx="360363" cy="162000"/>
          </a:xfrm>
          <a:prstGeom prst="rect">
            <a:avLst/>
          </a:prstGeom>
        </p:spPr>
        <p:txBody>
          <a:bodyPr/>
          <a:lstStyle/>
          <a:p>
            <a:pPr defTabSz="914368"/>
            <a:fld id="{733122C9-A0B9-462F-8757-0847AD287B63}" type="slidenum">
              <a:rPr lang="fr-FR" sz="1800" smtClean="0">
                <a:solidFill>
                  <a:srgbClr val="3C3732"/>
                </a:solidFill>
              </a:rPr>
              <a:pPr defTabSz="914368"/>
              <a:t>‹N°›</a:t>
            </a:fld>
            <a:endParaRPr lang="fr-FR" sz="1800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179390" y="4659313"/>
            <a:ext cx="8029575" cy="162018"/>
          </a:xfrm>
          <a:prstGeom prst="rect">
            <a:avLst/>
          </a:prstGeom>
        </p:spPr>
        <p:txBody>
          <a:bodyPr/>
          <a:lstStyle/>
          <a:p>
            <a:pPr defTabSz="914368"/>
            <a:r>
              <a:rPr lang="fr-FR" sz="1800">
                <a:solidFill>
                  <a:srgbClr val="3C3732"/>
                </a:solidFill>
              </a:rPr>
              <a:t>Flash Report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3"/>
          </p:nvPr>
        </p:nvSpPr>
        <p:spPr bwMode="gray">
          <a:xfrm>
            <a:off x="539752" y="447675"/>
            <a:ext cx="8064500" cy="4032250"/>
          </a:xfrm>
        </p:spPr>
        <p:txBody>
          <a:bodyPr anchor="ctr" anchorCtr="0"/>
          <a:lstStyle>
            <a:lvl1pPr marL="359988" indent="-359988">
              <a:lnSpc>
                <a:spcPct val="90000"/>
              </a:lnSpc>
              <a:spcBef>
                <a:spcPts val="3200"/>
              </a:spcBef>
              <a:buFont typeface="Avenir LT Std 65 Medium" pitchFamily="34" charset="0"/>
              <a:buChar char="+"/>
              <a:defRPr sz="2800" b="0" cap="all" baseline="0"/>
            </a:lvl1pPr>
            <a:lvl2pPr marL="359988">
              <a:lnSpc>
                <a:spcPct val="90000"/>
              </a:lnSpc>
              <a:spcAft>
                <a:spcPts val="0"/>
              </a:spcAft>
              <a:defRPr sz="1500" cap="all" baseline="0">
                <a:latin typeface="+mn-lt"/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98732554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r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1" y="1743077"/>
            <a:ext cx="3960000" cy="2736851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51" y="4813200"/>
            <a:ext cx="7669212" cy="162000"/>
          </a:xfrm>
          <a:prstGeom prst="rect">
            <a:avLst/>
          </a:prstGeom>
        </p:spPr>
        <p:txBody>
          <a:bodyPr/>
          <a:lstStyle/>
          <a:p>
            <a:pPr defTabSz="914368"/>
            <a:r>
              <a:rPr lang="fr-FR" sz="1800">
                <a:solidFill>
                  <a:srgbClr val="3C3732"/>
                </a:solidFill>
              </a:rPr>
              <a:t>mardi 27 janvier 2015</a:t>
            </a: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>
          <a:xfrm>
            <a:off x="179387" y="4813200"/>
            <a:ext cx="360363" cy="162000"/>
          </a:xfrm>
          <a:prstGeom prst="rect">
            <a:avLst/>
          </a:prstGeom>
        </p:spPr>
        <p:txBody>
          <a:bodyPr/>
          <a:lstStyle/>
          <a:p>
            <a:pPr defTabSz="914368"/>
            <a:fld id="{733122C9-A0B9-462F-8757-0847AD287B63}" type="slidenum">
              <a:rPr lang="fr-FR" sz="1800" smtClean="0">
                <a:solidFill>
                  <a:srgbClr val="3C3732"/>
                </a:solidFill>
              </a:rPr>
              <a:pPr defTabSz="914368"/>
              <a:t>‹N°›</a:t>
            </a:fld>
            <a:endParaRPr lang="fr-FR" sz="1800">
              <a:solidFill>
                <a:srgbClr val="3C3732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179390" y="4659313"/>
            <a:ext cx="8029575" cy="162018"/>
          </a:xfrm>
          <a:prstGeom prst="rect">
            <a:avLst/>
          </a:prstGeom>
        </p:spPr>
        <p:txBody>
          <a:bodyPr/>
          <a:lstStyle/>
          <a:p>
            <a:pPr defTabSz="914368"/>
            <a:r>
              <a:rPr lang="fr-FR" sz="1800">
                <a:solidFill>
                  <a:srgbClr val="3C3732"/>
                </a:solidFill>
              </a:rPr>
              <a:t>Flash Report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49" y="950913"/>
            <a:ext cx="48240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40289824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5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 bwMode="gray">
          <a:xfrm>
            <a:off x="179389" y="179388"/>
            <a:ext cx="8785225" cy="3529012"/>
          </a:xfrm>
          <a:prstGeom prst="rect">
            <a:avLst/>
          </a:prstGeom>
          <a:solidFill>
            <a:srgbClr val="009AA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fr-FR" sz="1800" kern="0">
              <a:solidFill>
                <a:sysClr val="window" lastClr="FFFFFF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22030" y="1392521"/>
            <a:ext cx="8301404" cy="577285"/>
          </a:xfrm>
        </p:spPr>
        <p:txBody>
          <a:bodyPr anchor="b" anchorCtr="0">
            <a:spAutoFit/>
          </a:bodyPr>
          <a:lstStyle>
            <a:lvl1pPr>
              <a:defRPr sz="3600">
                <a:solidFill>
                  <a:srgbClr val="FFFFFF"/>
                </a:solidFill>
              </a:defRPr>
            </a:lvl1pPr>
          </a:lstStyle>
          <a:p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itle</a:t>
            </a:r>
            <a:r>
              <a:rPr lang="fr-FR"/>
              <a:t>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22030" y="2003425"/>
            <a:ext cx="8301404" cy="369332"/>
          </a:xfrm>
        </p:spPr>
        <p:txBody>
          <a:bodyPr>
            <a:spAutoFit/>
          </a:bodyPr>
          <a:lstStyle>
            <a:lvl1pPr>
              <a:defRPr sz="2400" b="0" cap="all" baseline="0">
                <a:solidFill>
                  <a:srgbClr val="FFFFFF"/>
                </a:solidFill>
              </a:defRPr>
            </a:lvl1pPr>
            <a:lvl2pPr>
              <a:defRPr sz="2400" b="0">
                <a:solidFill>
                  <a:srgbClr val="FFFFFF"/>
                </a:solidFill>
              </a:defRPr>
            </a:lvl2pPr>
            <a:lvl3pPr>
              <a:defRPr sz="2400" b="0">
                <a:solidFill>
                  <a:srgbClr val="FFFFFF"/>
                </a:solidFill>
              </a:defRPr>
            </a:lvl3pPr>
            <a:lvl4pPr>
              <a:defRPr sz="2400" b="0">
                <a:solidFill>
                  <a:srgbClr val="FFFFFF"/>
                </a:solidFill>
              </a:defRPr>
            </a:lvl4pPr>
            <a:lvl5pPr>
              <a:defRPr sz="2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ext</a:t>
            </a:r>
            <a:r>
              <a:rPr lang="fr-FR"/>
              <a:t>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422033" y="3248819"/>
            <a:ext cx="3530210" cy="246221"/>
          </a:xfrm>
        </p:spPr>
        <p:txBody>
          <a:bodyPr anchor="b" anchorCtr="0">
            <a:spAutoFit/>
          </a:bodyPr>
          <a:lstStyle>
            <a:lvl1pPr>
              <a:defRPr sz="1600" b="0">
                <a:solidFill>
                  <a:srgbClr val="FFFFFF"/>
                </a:solidFill>
              </a:defRPr>
            </a:lvl1pPr>
            <a:lvl2pPr>
              <a:defRPr b="0">
                <a:solidFill>
                  <a:srgbClr val="3C3732"/>
                </a:solidFill>
              </a:defRPr>
            </a:lvl2pPr>
            <a:lvl3pPr>
              <a:defRPr b="0">
                <a:solidFill>
                  <a:srgbClr val="3C3732"/>
                </a:solidFill>
              </a:defRPr>
            </a:lvl3pPr>
            <a:lvl4pPr>
              <a:defRPr b="0">
                <a:solidFill>
                  <a:srgbClr val="3C3732"/>
                </a:solidFill>
              </a:defRPr>
            </a:lvl4pPr>
            <a:lvl5pPr>
              <a:defRPr b="0">
                <a:solidFill>
                  <a:srgbClr val="3C3732"/>
                </a:solidFill>
              </a:defRPr>
            </a:lvl5pPr>
          </a:lstStyle>
          <a:p>
            <a:pPr lvl="0"/>
            <a:r>
              <a:rPr lang="fr-FR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6194926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CBF3C326-95D0-4C87-8D37-8D037E51AFD9}" type="datetimeFigureOut">
              <a:rPr lang="fr-FR" smtClean="0"/>
              <a:t>17/01/202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40A107DD-8967-4BFF-9F20-9F6B07C0D16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118639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20"/>
            <a:ext cx="3886200" cy="326350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20"/>
            <a:ext cx="3886200" cy="326350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3"/>
          </a:xfrm>
          <a:prstGeom prst="rect">
            <a:avLst/>
          </a:prstGeom>
        </p:spPr>
        <p:txBody>
          <a:bodyPr/>
          <a:lstStyle/>
          <a:p>
            <a:fld id="{D91DC166-3F88-4849-A61A-AD75C82AAE0A}" type="datetimeFigureOut">
              <a:rPr lang="fr-FR" smtClean="0"/>
              <a:t>17/01/2022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3"/>
          </a:xfrm>
          <a:prstGeom prst="rect">
            <a:avLst/>
          </a:prstGeom>
        </p:spPr>
        <p:txBody>
          <a:bodyPr/>
          <a:lstStyle/>
          <a:p>
            <a:fld id="{44AC34E9-4D80-9947-9379-C8B62DEAC814}" type="slidenum">
              <a:rPr lang="fr-FR" smtClean="0"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Shape 117"/>
          <p:cNvSpPr>
            <a:spLocks noGrp="1"/>
          </p:cNvSpPr>
          <p:nvPr>
            <p:ph type="title"/>
          </p:nvPr>
        </p:nvSpPr>
        <p:spPr>
          <a:xfrm>
            <a:off x="1812728" y="863948"/>
            <a:ext cx="5518548" cy="1741289"/>
          </a:xfrm>
          <a:prstGeom prst="rect">
            <a:avLst/>
          </a:prstGeom>
        </p:spPr>
        <p:txBody>
          <a:bodyPr anchor="b"/>
          <a:lstStyle/>
          <a:p>
            <a:r>
              <a:t>Title Text</a:t>
            </a:r>
          </a:p>
        </p:txBody>
      </p:sp>
      <p:sp>
        <p:nvSpPr>
          <p:cNvPr id="118" name="Shape 118"/>
          <p:cNvSpPr>
            <a:spLocks noGrp="1"/>
          </p:cNvSpPr>
          <p:nvPr>
            <p:ph type="body" sz="quarter" idx="1"/>
          </p:nvPr>
        </p:nvSpPr>
        <p:spPr>
          <a:xfrm>
            <a:off x="1812728" y="2652117"/>
            <a:ext cx="5518548" cy="596058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1650"/>
            </a:lvl1pPr>
            <a:lvl2pPr marL="0" indent="0" algn="ctr">
              <a:spcBef>
                <a:spcPts val="0"/>
              </a:spcBef>
              <a:buSzTx/>
              <a:buNone/>
              <a:defRPr sz="1650"/>
            </a:lvl2pPr>
            <a:lvl3pPr marL="0" indent="0" algn="ctr">
              <a:spcBef>
                <a:spcPts val="0"/>
              </a:spcBef>
              <a:buSzTx/>
              <a:buNone/>
              <a:defRPr sz="1650"/>
            </a:lvl3pPr>
            <a:lvl4pPr marL="0" indent="0" algn="ctr">
              <a:spcBef>
                <a:spcPts val="0"/>
              </a:spcBef>
              <a:buSzTx/>
              <a:buNone/>
              <a:defRPr sz="1650"/>
            </a:lvl4pPr>
            <a:lvl5pPr marL="0" indent="0" algn="ctr">
              <a:spcBef>
                <a:spcPts val="0"/>
              </a:spcBef>
              <a:buSzTx/>
              <a:buNone/>
              <a:defRPr sz="165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19" name="Shape 119"/>
          <p:cNvSpPr>
            <a:spLocks noGrp="1"/>
          </p:cNvSpPr>
          <p:nvPr>
            <p:ph type="sldNum" sz="quarter" idx="2"/>
          </p:nvPr>
        </p:nvSpPr>
        <p:spPr>
          <a:xfrm>
            <a:off x="7613106" y="4878958"/>
            <a:ext cx="185468" cy="19168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C52D1"/>
                </a:solidFill>
                <a:latin typeface="CoreHumanistSans-Regular"/>
                <a:ea typeface="CoreHumanistSans-Regular"/>
                <a:cs typeface="CoreHumanistSans-Regular"/>
                <a:sym typeface="CoreHumanistSans-Regular"/>
              </a:defRPr>
            </a:lvl1pPr>
          </a:lstStyle>
          <a:p>
            <a:fld id="{86CB4B4D-7CA3-9044-876B-883B54F8677D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20244095"/>
      </p:ext>
    </p:extLst>
  </p:cSld>
  <p:clrMapOvr>
    <a:masterClrMapping/>
  </p:clrMapOvr>
  <p:transition spd="slow" advClick="0" advTm="0">
    <p:cover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ar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4" name="Diapositive think-cell" r:id="rId4" imgW="444" imgH="443" progId="TCLayout.ActiveDocument.1">
                  <p:embed/>
                </p:oleObj>
              </mc:Choice>
              <mc:Fallback>
                <p:oleObj name="Diapositive think-cell" r:id="rId4" imgW="444" imgH="443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539751" y="125615"/>
            <a:ext cx="8064499" cy="357903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1" y="1743075"/>
            <a:ext cx="3960000" cy="2736851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</p:spTree>
    <p:extLst>
      <p:ext uri="{BB962C8B-B14F-4D97-AF65-F5344CB8AC3E}">
        <p14:creationId xmlns:p14="http://schemas.microsoft.com/office/powerpoint/2010/main" val="14121170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_typ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539766" y="486002"/>
            <a:ext cx="8064499" cy="464913"/>
          </a:xfrm>
        </p:spPr>
        <p:txBody>
          <a:bodyPr/>
          <a:lstStyle>
            <a:lvl1pPr>
              <a:defRPr b="0" i="0" cap="none">
                <a:latin typeface="Avenir LT Std 95 Black"/>
                <a:cs typeface="Avenir LT Std 95 Black"/>
              </a:defRPr>
            </a:lvl1pPr>
          </a:lstStyle>
          <a:p>
            <a:r>
              <a:rPr lang="fr-FR" noProof="0" err="1"/>
              <a:t>TitretT</a:t>
            </a:r>
            <a:endParaRPr lang="fr-FR" noProof="0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89" y="4813200"/>
            <a:ext cx="7669213" cy="162000"/>
          </a:xfrm>
          <a:prstGeom prst="rect">
            <a:avLst/>
          </a:prstGeom>
        </p:spPr>
        <p:txBody>
          <a:bodyPr/>
          <a:lstStyle/>
          <a:p>
            <a:fld id="{840A86BF-A67C-4EBF-87D6-C5E1200ADBCF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prstClr val="white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39765" y="1267907"/>
            <a:ext cx="3602589" cy="230832"/>
          </a:xfrm>
          <a:prstGeom prst="rect">
            <a:avLst/>
          </a:prstGeom>
          <a:solidFill>
            <a:srgbClr val="71B304"/>
          </a:solidFill>
        </p:spPr>
        <p:txBody>
          <a:bodyPr wrap="none" anchor="t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tabLst>
                <a:tab pos="355492" algn="l"/>
              </a:tabLst>
              <a:defRPr sz="1500" b="0" i="0" cap="none" baseline="0">
                <a:solidFill>
                  <a:schemeClr val="bg1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01.	Titre partie (tabulation après le chiffre)</a:t>
            </a:r>
          </a:p>
        </p:txBody>
      </p:sp>
      <p:sp>
        <p:nvSpPr>
          <p:cNvPr id="18" name="Espace réservé du texte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9765" y="2057565"/>
            <a:ext cx="3602589" cy="230832"/>
          </a:xfrm>
          <a:prstGeom prst="rect">
            <a:avLst/>
          </a:prstGeom>
          <a:solidFill>
            <a:srgbClr val="71B304"/>
          </a:solidFill>
        </p:spPr>
        <p:txBody>
          <a:bodyPr wrap="none" anchor="t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tabLst>
                <a:tab pos="355492" algn="l"/>
              </a:tabLst>
              <a:defRPr sz="1500" b="0" i="0" cap="none" baseline="0">
                <a:solidFill>
                  <a:schemeClr val="bg1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01.	Titre partie (tabulation après le chiffre)</a:t>
            </a:r>
          </a:p>
        </p:txBody>
      </p:sp>
      <p:sp>
        <p:nvSpPr>
          <p:cNvPr id="15" name="Espace réservé du texte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39582" y="3651879"/>
            <a:ext cx="3602589" cy="230832"/>
          </a:xfrm>
          <a:prstGeom prst="rect">
            <a:avLst/>
          </a:prstGeom>
          <a:solidFill>
            <a:srgbClr val="71B304"/>
          </a:solidFill>
        </p:spPr>
        <p:txBody>
          <a:bodyPr wrap="none" anchor="t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tabLst>
                <a:tab pos="355492" algn="l"/>
              </a:tabLst>
              <a:defRPr sz="1500" b="0" i="0" cap="none" baseline="0">
                <a:solidFill>
                  <a:schemeClr val="bg1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01.	Titre partie (tabulation après le chiffre)</a:t>
            </a:r>
          </a:p>
        </p:txBody>
      </p:sp>
      <p:sp>
        <p:nvSpPr>
          <p:cNvPr id="16" name="Espace réservé du texte 11"/>
          <p:cNvSpPr>
            <a:spLocks noGrp="1"/>
          </p:cNvSpPr>
          <p:nvPr>
            <p:ph type="body" sz="quarter" idx="22"/>
          </p:nvPr>
        </p:nvSpPr>
        <p:spPr bwMode="gray">
          <a:xfrm>
            <a:off x="899608" y="3111862"/>
            <a:ext cx="7704137" cy="468000"/>
          </a:xfrm>
          <a:prstGeom prst="rect">
            <a:avLst/>
          </a:prstGeom>
        </p:spPr>
        <p:txBody>
          <a:bodyPr/>
          <a:lstStyle>
            <a:lvl1pPr marL="143963" indent="-143963">
              <a:lnSpc>
                <a:spcPct val="90000"/>
              </a:lnSpc>
              <a:spcAft>
                <a:spcPts val="0"/>
              </a:spcAft>
              <a:buFont typeface="Avenir LT Std 45 Book" pitchFamily="34" charset="0"/>
              <a:buChar char="+"/>
              <a:defRPr sz="1500" b="0" i="0" cap="none" baseline="0">
                <a:solidFill>
                  <a:srgbClr val="6C6C6C"/>
                </a:solidFill>
                <a:latin typeface="Avenir LT Std 45 Book"/>
                <a:cs typeface="Avenir LT Std 45 Book"/>
              </a:defRPr>
            </a:lvl1pPr>
            <a:lvl2pPr marL="143963">
              <a:lnSpc>
                <a:spcPct val="90000"/>
              </a:lnSpc>
              <a:spcAft>
                <a:spcPts val="0"/>
              </a:spcAft>
              <a:defRPr sz="1500" b="0" i="0" cap="none">
                <a:solidFill>
                  <a:srgbClr val="6C6C6C"/>
                </a:solidFill>
                <a:latin typeface="Avenir LT Std 45 Book"/>
                <a:cs typeface="Avenir LT Std 45 Book"/>
              </a:defRPr>
            </a:lvl2pPr>
            <a:lvl3pPr indent="0">
              <a:spcAft>
                <a:spcPts val="0"/>
              </a:spcAft>
              <a:buNone/>
              <a:defRPr b="1"/>
            </a:lvl3pPr>
            <a:lvl4pPr marL="143963" indent="0">
              <a:buNone/>
              <a:defRPr sz="1300" b="1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Espace réservé du texte 11"/>
          <p:cNvSpPr>
            <a:spLocks noGrp="1"/>
          </p:cNvSpPr>
          <p:nvPr>
            <p:ph type="body" sz="quarter" idx="24"/>
          </p:nvPr>
        </p:nvSpPr>
        <p:spPr bwMode="gray">
          <a:xfrm>
            <a:off x="899608" y="1571589"/>
            <a:ext cx="7704137" cy="468000"/>
          </a:xfrm>
          <a:prstGeom prst="rect">
            <a:avLst/>
          </a:prstGeom>
        </p:spPr>
        <p:txBody>
          <a:bodyPr/>
          <a:lstStyle>
            <a:lvl1pPr marL="143963" indent="-143963">
              <a:lnSpc>
                <a:spcPct val="90000"/>
              </a:lnSpc>
              <a:spcAft>
                <a:spcPts val="0"/>
              </a:spcAft>
              <a:buFont typeface="Avenir LT Std 45 Book" pitchFamily="34" charset="0"/>
              <a:buChar char="+"/>
              <a:defRPr sz="1500" b="0" i="0" cap="none" baseline="0">
                <a:solidFill>
                  <a:srgbClr val="6C6C6C"/>
                </a:solidFill>
                <a:latin typeface="Avenir LT Std 45 Book"/>
                <a:cs typeface="Avenir LT Std 45 Book"/>
              </a:defRPr>
            </a:lvl1pPr>
            <a:lvl2pPr marL="143963">
              <a:lnSpc>
                <a:spcPct val="90000"/>
              </a:lnSpc>
              <a:spcAft>
                <a:spcPts val="0"/>
              </a:spcAft>
              <a:defRPr sz="1500" b="0" i="0" cap="none">
                <a:solidFill>
                  <a:srgbClr val="6C6C6C"/>
                </a:solidFill>
                <a:latin typeface="Avenir LT Std 45 Book"/>
                <a:cs typeface="Avenir LT Std 45 Book"/>
              </a:defRPr>
            </a:lvl2pPr>
            <a:lvl3pPr indent="0">
              <a:spcAft>
                <a:spcPts val="0"/>
              </a:spcAft>
              <a:buNone/>
              <a:defRPr b="1"/>
            </a:lvl3pPr>
            <a:lvl4pPr marL="143963" indent="0">
              <a:buNone/>
              <a:defRPr sz="1300" b="1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Espace réservé du texte 11"/>
          <p:cNvSpPr>
            <a:spLocks noGrp="1"/>
          </p:cNvSpPr>
          <p:nvPr>
            <p:ph type="body" sz="quarter" idx="25"/>
          </p:nvPr>
        </p:nvSpPr>
        <p:spPr bwMode="gray">
          <a:xfrm>
            <a:off x="899608" y="2355726"/>
            <a:ext cx="7704137" cy="468000"/>
          </a:xfrm>
          <a:prstGeom prst="rect">
            <a:avLst/>
          </a:prstGeom>
        </p:spPr>
        <p:txBody>
          <a:bodyPr/>
          <a:lstStyle>
            <a:lvl1pPr marL="143963" indent="-143963">
              <a:lnSpc>
                <a:spcPct val="90000"/>
              </a:lnSpc>
              <a:spcAft>
                <a:spcPts val="0"/>
              </a:spcAft>
              <a:buFont typeface="Avenir LT Std 45 Book" pitchFamily="34" charset="0"/>
              <a:buChar char="+"/>
              <a:defRPr sz="1500" b="0" i="0" cap="none" baseline="0">
                <a:solidFill>
                  <a:srgbClr val="6C6C6C"/>
                </a:solidFill>
                <a:latin typeface="Avenir LT Std 45 Book"/>
                <a:cs typeface="Avenir LT Std 45 Book"/>
              </a:defRPr>
            </a:lvl1pPr>
            <a:lvl2pPr marL="143963">
              <a:lnSpc>
                <a:spcPct val="90000"/>
              </a:lnSpc>
              <a:spcAft>
                <a:spcPts val="0"/>
              </a:spcAft>
              <a:defRPr sz="1500" b="0" i="0" cap="none">
                <a:solidFill>
                  <a:srgbClr val="6C6C6C"/>
                </a:solidFill>
                <a:latin typeface="Avenir LT Std 45 Book"/>
                <a:cs typeface="Avenir LT Std 45 Book"/>
              </a:defRPr>
            </a:lvl2pPr>
            <a:lvl3pPr indent="0">
              <a:spcAft>
                <a:spcPts val="0"/>
              </a:spcAft>
              <a:buNone/>
              <a:defRPr b="1"/>
            </a:lvl3pPr>
            <a:lvl4pPr marL="143963" indent="0">
              <a:buNone/>
              <a:defRPr sz="1300" b="1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0" name="Espace réservé du texte 11"/>
          <p:cNvSpPr>
            <a:spLocks noGrp="1"/>
          </p:cNvSpPr>
          <p:nvPr>
            <p:ph type="body" sz="quarter" idx="26"/>
          </p:nvPr>
        </p:nvSpPr>
        <p:spPr bwMode="gray">
          <a:xfrm>
            <a:off x="899608" y="3939902"/>
            <a:ext cx="7704137" cy="468000"/>
          </a:xfrm>
          <a:prstGeom prst="rect">
            <a:avLst/>
          </a:prstGeom>
        </p:spPr>
        <p:txBody>
          <a:bodyPr/>
          <a:lstStyle>
            <a:lvl1pPr marL="143963" indent="-143963">
              <a:lnSpc>
                <a:spcPct val="90000"/>
              </a:lnSpc>
              <a:spcAft>
                <a:spcPts val="0"/>
              </a:spcAft>
              <a:buFont typeface="Avenir LT Std 45 Book" pitchFamily="34" charset="0"/>
              <a:buChar char="+"/>
              <a:defRPr sz="1500" b="0" i="0" cap="none" baseline="0">
                <a:solidFill>
                  <a:srgbClr val="6C6C6C"/>
                </a:solidFill>
                <a:latin typeface="Avenir LT Std 45 Book"/>
                <a:cs typeface="Avenir LT Std 45 Book"/>
              </a:defRPr>
            </a:lvl1pPr>
            <a:lvl2pPr marL="143963">
              <a:lnSpc>
                <a:spcPct val="90000"/>
              </a:lnSpc>
              <a:spcAft>
                <a:spcPts val="0"/>
              </a:spcAft>
              <a:defRPr sz="1500" b="0" i="0" cap="none">
                <a:solidFill>
                  <a:srgbClr val="6C6C6C"/>
                </a:solidFill>
                <a:latin typeface="Avenir LT Std 45 Book"/>
                <a:cs typeface="Avenir LT Std 45 Book"/>
              </a:defRPr>
            </a:lvl2pPr>
            <a:lvl3pPr indent="0">
              <a:spcAft>
                <a:spcPts val="0"/>
              </a:spcAft>
              <a:buNone/>
              <a:defRPr b="1"/>
            </a:lvl3pPr>
            <a:lvl4pPr marL="143963" indent="0">
              <a:buNone/>
              <a:defRPr sz="1300" b="1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7" name="Espace réservé du texte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539765" y="2855679"/>
            <a:ext cx="3602589" cy="230832"/>
          </a:xfrm>
          <a:prstGeom prst="rect">
            <a:avLst/>
          </a:prstGeom>
          <a:solidFill>
            <a:srgbClr val="71B304"/>
          </a:solidFill>
        </p:spPr>
        <p:txBody>
          <a:bodyPr wrap="none" anchor="t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tabLst>
                <a:tab pos="355492" algn="l"/>
              </a:tabLst>
              <a:defRPr sz="1500" b="0" i="0" cap="none" baseline="0">
                <a:solidFill>
                  <a:schemeClr val="bg1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01.	Titre partie (tabulation après le chiffre)</a:t>
            </a:r>
          </a:p>
        </p:txBody>
      </p:sp>
    </p:spTree>
    <p:extLst>
      <p:ext uri="{BB962C8B-B14F-4D97-AF65-F5344CB8AC3E}">
        <p14:creationId xmlns:p14="http://schemas.microsoft.com/office/powerpoint/2010/main" val="29160655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_typ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539766" y="486002"/>
            <a:ext cx="8064499" cy="464913"/>
          </a:xfrm>
        </p:spPr>
        <p:txBody>
          <a:bodyPr/>
          <a:lstStyle>
            <a:lvl1pPr>
              <a:defRPr b="0"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89" y="4813200"/>
            <a:ext cx="7669213" cy="162000"/>
          </a:xfrm>
          <a:prstGeom prst="rect">
            <a:avLst/>
          </a:prstGeom>
        </p:spPr>
        <p:txBody>
          <a:bodyPr/>
          <a:lstStyle/>
          <a:p>
            <a:fld id="{D97A566D-E63D-4CE2-A0CB-4B37021A31EB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prstClr val="white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3"/>
          </p:nvPr>
        </p:nvSpPr>
        <p:spPr bwMode="gray">
          <a:xfrm>
            <a:off x="539766" y="1276376"/>
            <a:ext cx="8064499" cy="3203575"/>
          </a:xfrm>
          <a:prstGeom prst="rect">
            <a:avLst/>
          </a:prstGeom>
        </p:spPr>
        <p:txBody>
          <a:bodyPr/>
          <a:lstStyle>
            <a:lvl1pPr>
              <a:spcBef>
                <a:spcPts val="1400"/>
              </a:spcBef>
              <a:spcAft>
                <a:spcPts val="500"/>
              </a:spcAft>
              <a:defRPr sz="1500" b="0" i="0" cap="none" baseline="0">
                <a:latin typeface="+mj-lt"/>
                <a:cs typeface="Avenir LT Std 95 Black"/>
              </a:defRPr>
            </a:lvl1pPr>
            <a:lvl2pPr>
              <a:lnSpc>
                <a:spcPct val="90000"/>
              </a:lnSpc>
              <a:spcAft>
                <a:spcPts val="0"/>
              </a:spcAft>
              <a:defRPr sz="1500" b="0" i="0" cap="none" baseline="0">
                <a:solidFill>
                  <a:srgbClr val="6C6C6C"/>
                </a:solidFill>
                <a:latin typeface="Avenir LT Std 45 Book"/>
                <a:cs typeface="Avenir LT Std 45 Book"/>
              </a:defRPr>
            </a:lvl2pPr>
            <a:lvl3pPr marL="0" indent="0">
              <a:lnSpc>
                <a:spcPct val="90000"/>
              </a:lnSpc>
              <a:spcAft>
                <a:spcPts val="0"/>
              </a:spcAft>
              <a:buNone/>
              <a:defRPr sz="1500" cap="all" baseline="0"/>
            </a:lvl3pPr>
            <a:lvl4pPr marL="0" indent="0">
              <a:lnSpc>
                <a:spcPct val="90000"/>
              </a:lnSpc>
              <a:spcAft>
                <a:spcPts val="0"/>
              </a:spcAft>
              <a:buNone/>
              <a:defRPr sz="1500" cap="all" baseline="0"/>
            </a:lvl4pPr>
            <a:lvl5pPr marL="0" indent="0">
              <a:lnSpc>
                <a:spcPct val="90000"/>
              </a:lnSpc>
              <a:spcAft>
                <a:spcPts val="0"/>
              </a:spcAft>
              <a:defRPr sz="1500" cap="all" baseline="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44655068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 bwMode="gray">
          <a:xfrm>
            <a:off x="179403" y="179388"/>
            <a:ext cx="8785225" cy="3529012"/>
          </a:xfrm>
          <a:prstGeom prst="rect">
            <a:avLst/>
          </a:prstGeom>
          <a:solidFill>
            <a:srgbClr val="71B30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3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89" y="4813200"/>
            <a:ext cx="7669213" cy="162000"/>
          </a:xfrm>
          <a:prstGeom prst="rect">
            <a:avLst/>
          </a:prstGeom>
        </p:spPr>
        <p:txBody>
          <a:bodyPr/>
          <a:lstStyle/>
          <a:p>
            <a:fld id="{FA62EEA9-C284-4F2D-B453-60EC2FC663F7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prstClr val="white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3"/>
          </p:nvPr>
        </p:nvSpPr>
        <p:spPr bwMode="gray">
          <a:xfrm>
            <a:off x="539752" y="267495"/>
            <a:ext cx="8064500" cy="193160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90000"/>
              </a:lnSpc>
              <a:spcAft>
                <a:spcPts val="0"/>
              </a:spcAft>
              <a:defRPr sz="5000" b="0" kern="1200" cap="none" baseline="0">
                <a:solidFill>
                  <a:schemeClr val="bg1"/>
                </a:solidFill>
                <a:latin typeface="Avenir Black"/>
                <a:cs typeface="Avenir Black"/>
              </a:defRPr>
            </a:lvl1pPr>
            <a:lvl2pPr>
              <a:lnSpc>
                <a:spcPct val="90000"/>
              </a:lnSpc>
              <a:spcAft>
                <a:spcPts val="0"/>
              </a:spcAft>
              <a:defRPr sz="3500" cap="none" baseline="0">
                <a:solidFill>
                  <a:schemeClr val="bg1"/>
                </a:solidFill>
                <a:latin typeface="Avenir Black"/>
                <a:cs typeface="Avenir Black"/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4"/>
          </p:nvPr>
        </p:nvSpPr>
        <p:spPr bwMode="gray">
          <a:xfrm>
            <a:off x="539752" y="2344180"/>
            <a:ext cx="8064500" cy="1350000"/>
          </a:xfrm>
          <a:prstGeom prst="rect">
            <a:avLst/>
          </a:prstGeom>
        </p:spPr>
        <p:txBody>
          <a:bodyPr/>
          <a:lstStyle>
            <a:lvl1pPr marL="179947" indent="-179947">
              <a:lnSpc>
                <a:spcPct val="90000"/>
              </a:lnSpc>
              <a:spcAft>
                <a:spcPts val="0"/>
              </a:spcAft>
              <a:buFont typeface="Arial" pitchFamily="34" charset="0"/>
              <a:buChar char="+"/>
              <a:defRPr sz="1600" b="0" cap="none" baseline="0">
                <a:solidFill>
                  <a:schemeClr val="bg1"/>
                </a:solidFill>
                <a:latin typeface="Avenir Black"/>
                <a:cs typeface="Avenir Black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27664858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us_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gray">
          <a:xfrm>
            <a:off x="179403" y="179388"/>
            <a:ext cx="8785225" cy="3529012"/>
          </a:xfrm>
          <a:prstGeom prst="rect">
            <a:avLst/>
          </a:prstGeom>
          <a:solidFill>
            <a:srgbClr val="D7D7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3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89" y="4813200"/>
            <a:ext cx="7669213" cy="162000"/>
          </a:xfrm>
          <a:prstGeom prst="rect">
            <a:avLst/>
          </a:prstGeom>
        </p:spPr>
        <p:txBody>
          <a:bodyPr/>
          <a:lstStyle/>
          <a:p>
            <a:fld id="{4756815B-7C06-4A46-8BA5-0789414E85AB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prstClr val="white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4"/>
          </p:nvPr>
        </p:nvSpPr>
        <p:spPr bwMode="gray">
          <a:xfrm>
            <a:off x="539752" y="1947070"/>
            <a:ext cx="8064500" cy="1350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3500" b="0" cap="none" baseline="0">
                <a:solidFill>
                  <a:srgbClr val="71B304"/>
                </a:solidFill>
                <a:latin typeface="Avenir Black"/>
                <a:cs typeface="Avenir Black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4" name="Espace réservé du texte 11"/>
          <p:cNvSpPr>
            <a:spLocks noGrp="1"/>
          </p:cNvSpPr>
          <p:nvPr>
            <p:ph type="body" sz="quarter" idx="15"/>
          </p:nvPr>
        </p:nvSpPr>
        <p:spPr bwMode="gray">
          <a:xfrm>
            <a:off x="539752" y="1438622"/>
            <a:ext cx="4411464" cy="230832"/>
          </a:xfrm>
          <a:prstGeom prst="rect">
            <a:avLst/>
          </a:prstGeom>
          <a:solidFill>
            <a:srgbClr val="71B304"/>
          </a:solidFill>
        </p:spPr>
        <p:txBody>
          <a:bodyPr wrap="none" anchor="ctr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500" b="0" kern="1200" cap="none" baseline="0">
                <a:solidFill>
                  <a:schemeClr val="bg1"/>
                </a:solidFill>
                <a:latin typeface="Avenir Black"/>
                <a:cs typeface="Avenir Black"/>
              </a:defRPr>
            </a:lvl1pPr>
            <a:lvl2pPr>
              <a:lnSpc>
                <a:spcPct val="90000"/>
              </a:lnSpc>
              <a:defRPr sz="3500" cap="all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Espace réservé du texte 11"/>
          <p:cNvSpPr>
            <a:spLocks noGrp="1"/>
          </p:cNvSpPr>
          <p:nvPr>
            <p:ph type="body" sz="quarter" idx="16"/>
          </p:nvPr>
        </p:nvSpPr>
        <p:spPr bwMode="gray">
          <a:xfrm>
            <a:off x="539554" y="1692855"/>
            <a:ext cx="4411464" cy="230832"/>
          </a:xfrm>
          <a:prstGeom prst="rect">
            <a:avLst/>
          </a:prstGeom>
          <a:solidFill>
            <a:srgbClr val="71B304"/>
          </a:solidFill>
        </p:spPr>
        <p:txBody>
          <a:bodyPr wrap="none" anchor="ctr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500" b="0" kern="1200" cap="none" baseline="0">
                <a:solidFill>
                  <a:schemeClr val="bg1"/>
                </a:solidFill>
                <a:latin typeface="Avenir Black"/>
                <a:cs typeface="Avenir Black"/>
              </a:defRPr>
            </a:lvl1pPr>
            <a:lvl2pPr>
              <a:lnSpc>
                <a:spcPct val="90000"/>
              </a:lnSpc>
              <a:defRPr sz="3500" cap="all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33975693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croche_visu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texte 14"/>
          <p:cNvSpPr>
            <a:spLocks noGrp="1"/>
          </p:cNvSpPr>
          <p:nvPr>
            <p:ph type="body" sz="quarter" idx="19"/>
          </p:nvPr>
        </p:nvSpPr>
        <p:spPr bwMode="gray">
          <a:xfrm>
            <a:off x="539752" y="633882"/>
            <a:ext cx="8064500" cy="3600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4500" b="0" cap="all" baseline="0">
                <a:latin typeface="+mj-lt"/>
              </a:defRPr>
            </a:lvl1pPr>
            <a:lvl2pPr>
              <a:lnSpc>
                <a:spcPct val="90000"/>
              </a:lnSpc>
              <a:spcBef>
                <a:spcPts val="1500"/>
              </a:spcBef>
              <a:spcAft>
                <a:spcPts val="0"/>
              </a:spcAft>
              <a:defRPr sz="1500" b="0" cap="all" baseline="0">
                <a:solidFill>
                  <a:srgbClr val="747678"/>
                </a:solidFill>
                <a:latin typeface="+mn-lt"/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2" name="Espace réservé pour une image  10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179388" y="179387"/>
            <a:ext cx="8785224" cy="4140000"/>
          </a:xfrm>
          <a:prstGeom prst="rect">
            <a:avLst/>
          </a:prstGeom>
          <a:solidFill>
            <a:srgbClr val="D7D7D7"/>
          </a:solidFill>
        </p:spPr>
        <p:txBody>
          <a:bodyPr lIns="719784" tIns="1259623" rIns="719784" anchor="ctr" anchorCtr="0"/>
          <a:lstStyle>
            <a:lvl1pPr algn="ctr">
              <a:defRPr sz="1300" b="0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fr-FR"/>
              <a:t>Sélectionner l’icône pour insérer une image (format 244 x 115 mm), puis disposer l’image en arrière plan (Sélectionner l’image avec le bouton droit de la souris / Mettre à l’arrière plan). Lorsque l’image est en arrière plan, le titre apparaît.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89" y="4813200"/>
            <a:ext cx="7669213" cy="162000"/>
          </a:xfrm>
          <a:prstGeom prst="rect">
            <a:avLst/>
          </a:prstGeom>
        </p:spPr>
        <p:txBody>
          <a:bodyPr/>
          <a:lstStyle/>
          <a:p>
            <a:fld id="{965E6EF3-76FB-49E3-8783-AA7ABCC1FB9C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prstClr val="white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10" name="Espace réservé pour une image  10"/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179547" y="771552"/>
            <a:ext cx="8785225" cy="3529012"/>
          </a:xfrm>
          <a:prstGeom prst="rect">
            <a:avLst/>
          </a:prstGeom>
          <a:solidFill>
            <a:srgbClr val="D7D7D7"/>
          </a:solidFill>
        </p:spPr>
        <p:txBody>
          <a:bodyPr lIns="719784" tIns="1259623" rIns="719784" anchor="ctr" anchorCtr="0"/>
          <a:lstStyle>
            <a:lvl1pPr algn="ctr">
              <a:defRPr sz="1300" b="0" i="0" cap="none" baseline="0">
                <a:solidFill>
                  <a:srgbClr val="71B304"/>
                </a:solidFill>
                <a:latin typeface="+mj-lt"/>
                <a:cs typeface="Avenir LT Std 95 Black"/>
              </a:defRPr>
            </a:lvl1pPr>
          </a:lstStyle>
          <a:p>
            <a:r>
              <a:rPr lang="fr-FR"/>
              <a:t>Sélectionner l’icône pour insérer une image (format 244 x 98 mm), puis disposer l’image en arrière plan (sélectionner l’image avec le bouton droit de la souris / mettre à l’arrière plan). Lorsque l’image est en arrière plan, le titre apparaît.</a:t>
            </a:r>
          </a:p>
        </p:txBody>
      </p:sp>
    </p:spTree>
    <p:extLst>
      <p:ext uri="{BB962C8B-B14F-4D97-AF65-F5344CB8AC3E}">
        <p14:creationId xmlns:p14="http://schemas.microsoft.com/office/powerpoint/2010/main" val="138825991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croche_visuel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PPT_Packshot_244x130,5_01.jpg"/>
          <p:cNvPicPr preferRelativeResize="0">
            <a:picLocks/>
          </p:cNvPicPr>
          <p:nvPr userDrawn="1"/>
        </p:nvPicPr>
        <p:blipFill>
          <a:blip r:embed="rId2" cstate="print"/>
          <a:stretch>
            <a:fillRect/>
          </a:stretch>
        </p:blipFill>
        <p:spPr bwMode="gray">
          <a:xfrm>
            <a:off x="179428" y="180334"/>
            <a:ext cx="8782157" cy="4138157"/>
          </a:xfrm>
          <a:prstGeom prst="rect">
            <a:avLst/>
          </a:prstGeom>
        </p:spPr>
      </p:pic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89" y="4813200"/>
            <a:ext cx="7669213" cy="162000"/>
          </a:xfrm>
          <a:prstGeom prst="rect">
            <a:avLst/>
          </a:prstGeom>
        </p:spPr>
        <p:txBody>
          <a:bodyPr/>
          <a:lstStyle/>
          <a:p>
            <a:fld id="{3E61EC06-0937-4402-A8D3-25E5EC68C938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prstClr val="white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9"/>
          </p:nvPr>
        </p:nvSpPr>
        <p:spPr bwMode="gray">
          <a:xfrm>
            <a:off x="539752" y="633883"/>
            <a:ext cx="8064500" cy="3600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4500" b="0" cap="none" baseline="0">
                <a:latin typeface="Avenir Black"/>
                <a:cs typeface="Avenir Black"/>
              </a:defRPr>
            </a:lvl1pPr>
            <a:lvl2pPr>
              <a:lnSpc>
                <a:spcPct val="90000"/>
              </a:lnSpc>
              <a:spcBef>
                <a:spcPts val="1500"/>
              </a:spcBef>
              <a:spcAft>
                <a:spcPts val="0"/>
              </a:spcAft>
              <a:defRPr sz="1500" cap="none" baseline="0">
                <a:solidFill>
                  <a:srgbClr val="6C6C6C"/>
                </a:solidFill>
                <a:latin typeface="Avenir Black"/>
                <a:cs typeface="Avenir Black"/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6706621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croche_visuel_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PPT_Packshot_244x130,5_01.jpg"/>
          <p:cNvPicPr preferRelativeResize="0">
            <a:picLocks/>
          </p:cNvPicPr>
          <p:nvPr userDrawn="1"/>
        </p:nvPicPr>
        <p:blipFill>
          <a:blip r:embed="rId2" cstate="print"/>
          <a:stretch>
            <a:fillRect/>
          </a:stretch>
        </p:blipFill>
        <p:spPr bwMode="gray">
          <a:xfrm>
            <a:off x="179388" y="180334"/>
            <a:ext cx="8782156" cy="4138157"/>
          </a:xfrm>
          <a:prstGeom prst="rect">
            <a:avLst/>
          </a:prstGeom>
        </p:spPr>
      </p:pic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89" y="4813200"/>
            <a:ext cx="7669213" cy="162000"/>
          </a:xfrm>
          <a:prstGeom prst="rect">
            <a:avLst/>
          </a:prstGeom>
        </p:spPr>
        <p:txBody>
          <a:bodyPr/>
          <a:lstStyle/>
          <a:p>
            <a:fld id="{72F0694A-5BC2-4AE9-9165-502E6963F0C7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prstClr val="white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11" name="Espace réservé du texte 14"/>
          <p:cNvSpPr>
            <a:spLocks noGrp="1"/>
          </p:cNvSpPr>
          <p:nvPr>
            <p:ph type="body" sz="quarter" idx="19"/>
          </p:nvPr>
        </p:nvSpPr>
        <p:spPr bwMode="gray">
          <a:xfrm>
            <a:off x="539752" y="633883"/>
            <a:ext cx="8064500" cy="3600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4500" b="0" cap="none" baseline="0">
                <a:latin typeface="Avenir Black"/>
                <a:cs typeface="Avenir Black"/>
              </a:defRPr>
            </a:lvl1pPr>
            <a:lvl2pPr>
              <a:lnSpc>
                <a:spcPct val="90000"/>
              </a:lnSpc>
              <a:spcBef>
                <a:spcPts val="1500"/>
              </a:spcBef>
              <a:spcAft>
                <a:spcPts val="0"/>
              </a:spcAft>
              <a:defRPr sz="1500" cap="none" baseline="0">
                <a:solidFill>
                  <a:srgbClr val="6C6C6C"/>
                </a:solidFill>
                <a:latin typeface="Avenir Black"/>
                <a:cs typeface="Avenir Black"/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01742071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_2_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1" y="1743084"/>
            <a:ext cx="3960000" cy="2736851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12" name="Espace réservé du contenu 2"/>
          <p:cNvSpPr>
            <a:spLocks noGrp="1"/>
          </p:cNvSpPr>
          <p:nvPr>
            <p:ph idx="19" hasCustomPrompt="1"/>
          </p:nvPr>
        </p:nvSpPr>
        <p:spPr bwMode="gray">
          <a:xfrm>
            <a:off x="4644250" y="1743084"/>
            <a:ext cx="3960000" cy="2736851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10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89" y="4813200"/>
            <a:ext cx="7669213" cy="162000"/>
          </a:xfrm>
          <a:prstGeom prst="rect">
            <a:avLst/>
          </a:prstGeom>
        </p:spPr>
        <p:txBody>
          <a:bodyPr/>
          <a:lstStyle/>
          <a:p>
            <a:fld id="{55BE1B5E-DE97-428A-86A2-60B3968A3F3F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11" name="Espace réservé du texte 13"/>
          <p:cNvSpPr>
            <a:spLocks noGrp="1"/>
          </p:cNvSpPr>
          <p:nvPr>
            <p:ph type="body" sz="quarter" idx="14"/>
          </p:nvPr>
        </p:nvSpPr>
        <p:spPr bwMode="gray">
          <a:xfrm>
            <a:off x="538480" y="371793"/>
            <a:ext cx="8035290" cy="43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3200" b="0" i="0" cap="none" baseline="0">
                <a:solidFill>
                  <a:srgbClr val="71B304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2" y="950913"/>
            <a:ext cx="8064500" cy="432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i="0" cap="none" baseline="0">
                <a:solidFill>
                  <a:srgbClr val="747678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2833609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5"/>
            <a:ext cx="7886700" cy="994172"/>
          </a:xfrm>
        </p:spPr>
        <p:txBody>
          <a:bodyPr/>
          <a:lstStyle/>
          <a:p>
            <a:r>
              <a:rPr lang="fr-FR"/>
              <a:t>Cliquez et modifiez le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1878806"/>
            <a:ext cx="3887391" cy="276344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3"/>
          </a:xfrm>
          <a:prstGeom prst="rect">
            <a:avLst/>
          </a:prstGeom>
        </p:spPr>
        <p:txBody>
          <a:bodyPr/>
          <a:lstStyle/>
          <a:p>
            <a:fld id="{D91DC166-3F88-4849-A61A-AD75C82AAE0A}" type="datetimeFigureOut">
              <a:rPr lang="fr-FR" smtClean="0"/>
              <a:t>17/01/2022</a:t>
            </a:fld>
            <a:endParaRPr lang="fr-F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3"/>
          </a:xfrm>
          <a:prstGeom prst="rect">
            <a:avLst/>
          </a:prstGeom>
        </p:spPr>
        <p:txBody>
          <a:bodyPr/>
          <a:lstStyle/>
          <a:p>
            <a:fld id="{44AC34E9-4D80-9947-9379-C8B62DEAC814}" type="slidenum">
              <a:rPr lang="fr-FR" smtClean="0"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1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1" y="1743084"/>
            <a:ext cx="3960000" cy="2736851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11" name="Espace réservé pour une image  10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644250" y="1779589"/>
            <a:ext cx="3960000" cy="2520950"/>
          </a:xfrm>
          <a:prstGeom prst="rect">
            <a:avLst/>
          </a:prstGeom>
          <a:solidFill>
            <a:srgbClr val="D7D7D7"/>
          </a:solidFill>
        </p:spPr>
        <p:txBody>
          <a:bodyPr lIns="359892" tIns="1727484" rIns="359892" anchor="ctr" anchorCtr="0"/>
          <a:lstStyle>
            <a:lvl1pPr algn="ctr">
              <a:defRPr sz="1300" b="0" cap="none" baseline="0">
                <a:solidFill>
                  <a:srgbClr val="71B304"/>
                </a:solidFill>
                <a:latin typeface="+mn-lt"/>
              </a:defRPr>
            </a:lvl1pPr>
          </a:lstStyle>
          <a:p>
            <a:r>
              <a:rPr lang="fr-FR"/>
              <a:t>Sélectionner l’icône pour insérer une image (format 110 x 70 mm)</a:t>
            </a:r>
          </a:p>
        </p:txBody>
      </p:sp>
      <p:sp>
        <p:nvSpPr>
          <p:cNvPr id="10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89" y="4813200"/>
            <a:ext cx="7669213" cy="162000"/>
          </a:xfrm>
          <a:prstGeom prst="rect">
            <a:avLst/>
          </a:prstGeom>
        </p:spPr>
        <p:txBody>
          <a:bodyPr/>
          <a:lstStyle/>
          <a:p>
            <a:fld id="{3880887D-168A-43EB-86BF-29C054B8F765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12" name="Espace réservé du texte 13"/>
          <p:cNvSpPr>
            <a:spLocks noGrp="1"/>
          </p:cNvSpPr>
          <p:nvPr>
            <p:ph type="body" sz="quarter" idx="14"/>
          </p:nvPr>
        </p:nvSpPr>
        <p:spPr bwMode="gray">
          <a:xfrm>
            <a:off x="538480" y="371793"/>
            <a:ext cx="8035290" cy="43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3200" b="0" i="0" cap="none" baseline="0">
                <a:solidFill>
                  <a:srgbClr val="71B304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2" y="950913"/>
            <a:ext cx="8064500" cy="432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i="0" cap="none" baseline="0">
                <a:solidFill>
                  <a:srgbClr val="747678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61088240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66" y="1743075"/>
            <a:ext cx="8064499" cy="166576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11" name="Espace réservé du texte 13"/>
          <p:cNvSpPr>
            <a:spLocks noGrp="1"/>
          </p:cNvSpPr>
          <p:nvPr>
            <p:ph type="body" sz="quarter" idx="14"/>
          </p:nvPr>
        </p:nvSpPr>
        <p:spPr bwMode="gray">
          <a:xfrm>
            <a:off x="539750" y="3531247"/>
            <a:ext cx="4824000" cy="294284"/>
          </a:xfrm>
          <a:prstGeom prst="rect">
            <a:avLst/>
          </a:prstGeom>
          <a:solidFill>
            <a:srgbClr val="D7D7D7"/>
          </a:solidFill>
          <a:ln w="82550">
            <a:solidFill>
              <a:srgbClr val="D7D7D7"/>
            </a:solidFill>
            <a:miter lim="800000"/>
          </a:ln>
        </p:spPr>
        <p:txBody>
          <a:bodyPr tIns="35988" bIns="35988">
            <a:sp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1600" b="0" cap="none" baseline="0">
                <a:solidFill>
                  <a:srgbClr val="71B304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89" y="4813200"/>
            <a:ext cx="7669213" cy="162000"/>
          </a:xfrm>
          <a:prstGeom prst="rect">
            <a:avLst/>
          </a:prstGeom>
        </p:spPr>
        <p:txBody>
          <a:bodyPr/>
          <a:lstStyle/>
          <a:p>
            <a:fld id="{52739C2B-E7ED-4D50-9FA0-0D724CCC7679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12" name="Espace réservé du texte 13"/>
          <p:cNvSpPr>
            <a:spLocks noGrp="1"/>
          </p:cNvSpPr>
          <p:nvPr>
            <p:ph type="body" sz="quarter" idx="15"/>
          </p:nvPr>
        </p:nvSpPr>
        <p:spPr bwMode="gray">
          <a:xfrm>
            <a:off x="538480" y="371793"/>
            <a:ext cx="8035290" cy="43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3200" b="0" i="0" cap="none" baseline="0">
                <a:solidFill>
                  <a:srgbClr val="71B304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2" y="950913"/>
            <a:ext cx="8064500" cy="432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i="0" cap="none" baseline="0">
                <a:solidFill>
                  <a:srgbClr val="747678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77015990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1" y="1743084"/>
            <a:ext cx="3960000" cy="2736851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15" name="Espace réservé du graphique 14"/>
          <p:cNvSpPr>
            <a:spLocks noGrp="1"/>
          </p:cNvSpPr>
          <p:nvPr>
            <p:ph type="chart" sz="quarter" idx="14" hasCustomPrompt="1"/>
          </p:nvPr>
        </p:nvSpPr>
        <p:spPr bwMode="gray">
          <a:xfrm>
            <a:off x="4644250" y="1779605"/>
            <a:ext cx="3960000" cy="2700337"/>
          </a:xfrm>
          <a:prstGeom prst="rect">
            <a:avLst/>
          </a:prstGeom>
          <a:noFill/>
        </p:spPr>
        <p:txBody>
          <a:bodyPr tIns="719784" anchor="ctr" anchorCtr="0"/>
          <a:lstStyle>
            <a:lvl1pPr algn="ctr">
              <a:defRPr b="0" cap="all" baseline="0">
                <a:latin typeface="+mn-lt"/>
              </a:defRPr>
            </a:lvl1pPr>
          </a:lstStyle>
          <a:p>
            <a:r>
              <a:rPr lang="fr-FR"/>
              <a:t>GRAPHIQUE</a:t>
            </a:r>
          </a:p>
        </p:txBody>
      </p:sp>
      <p:sp>
        <p:nvSpPr>
          <p:cNvPr id="10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89" y="4813200"/>
            <a:ext cx="7669213" cy="162000"/>
          </a:xfrm>
          <a:prstGeom prst="rect">
            <a:avLst/>
          </a:prstGeom>
        </p:spPr>
        <p:txBody>
          <a:bodyPr/>
          <a:lstStyle/>
          <a:p>
            <a:fld id="{16EE0A74-4775-4BD1-A074-BD7CB07ADAB3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11" name="Espace réservé du texte 13"/>
          <p:cNvSpPr>
            <a:spLocks noGrp="1"/>
          </p:cNvSpPr>
          <p:nvPr>
            <p:ph type="body" sz="quarter" idx="15"/>
          </p:nvPr>
        </p:nvSpPr>
        <p:spPr bwMode="gray">
          <a:xfrm>
            <a:off x="538480" y="371793"/>
            <a:ext cx="8035290" cy="43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3200" b="0" i="0" cap="none" baseline="0">
                <a:solidFill>
                  <a:srgbClr val="71B304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2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2" y="950913"/>
            <a:ext cx="8064500" cy="432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i="0" cap="none" baseline="0">
                <a:solidFill>
                  <a:srgbClr val="747678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89050771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_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89" y="4813200"/>
            <a:ext cx="7669213" cy="162000"/>
          </a:xfrm>
          <a:prstGeom prst="rect">
            <a:avLst/>
          </a:prstGeom>
        </p:spPr>
        <p:txBody>
          <a:bodyPr/>
          <a:lstStyle/>
          <a:p>
            <a:fld id="{4BB2BDD4-4CE3-49F6-AE82-DABB9F067A05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>
          <a:xfrm>
            <a:off x="179389" y="4813200"/>
            <a:ext cx="360362" cy="162000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>
                <a:solidFill>
                  <a:prstClr val="white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15" name="Espace réservé du graphique 14"/>
          <p:cNvSpPr>
            <a:spLocks noGrp="1"/>
          </p:cNvSpPr>
          <p:nvPr>
            <p:ph type="chart" sz="quarter" idx="14" hasCustomPrompt="1"/>
          </p:nvPr>
        </p:nvSpPr>
        <p:spPr bwMode="gray">
          <a:xfrm>
            <a:off x="539752" y="1779605"/>
            <a:ext cx="8064500" cy="2700337"/>
          </a:xfrm>
          <a:prstGeom prst="rect">
            <a:avLst/>
          </a:prstGeom>
        </p:spPr>
        <p:txBody>
          <a:bodyPr tIns="719784" anchor="ctr" anchorCtr="0"/>
          <a:lstStyle>
            <a:lvl1pPr algn="ctr">
              <a:defRPr b="0" cap="all" baseline="0">
                <a:latin typeface="+mn-lt"/>
              </a:defRPr>
            </a:lvl1pPr>
          </a:lstStyle>
          <a:p>
            <a:r>
              <a:rPr lang="fr-FR"/>
              <a:t>GRAPHIQUE</a:t>
            </a:r>
          </a:p>
        </p:txBody>
      </p:sp>
      <p:sp>
        <p:nvSpPr>
          <p:cNvPr id="10" name="Espace réservé du texte 13"/>
          <p:cNvSpPr>
            <a:spLocks noGrp="1"/>
          </p:cNvSpPr>
          <p:nvPr>
            <p:ph type="body" sz="quarter" idx="15"/>
          </p:nvPr>
        </p:nvSpPr>
        <p:spPr bwMode="gray">
          <a:xfrm>
            <a:off x="538480" y="371793"/>
            <a:ext cx="8035290" cy="43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3200" b="0" i="0" cap="none" baseline="0">
                <a:solidFill>
                  <a:srgbClr val="71B304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1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2" y="950913"/>
            <a:ext cx="8064500" cy="432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i="0" cap="none" baseline="0">
                <a:solidFill>
                  <a:srgbClr val="747678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68787435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_graphique_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graphique 14"/>
          <p:cNvSpPr>
            <a:spLocks noGrp="1"/>
          </p:cNvSpPr>
          <p:nvPr>
            <p:ph type="chart" sz="quarter" idx="14" hasCustomPrompt="1"/>
          </p:nvPr>
        </p:nvSpPr>
        <p:spPr bwMode="gray">
          <a:xfrm>
            <a:off x="539752" y="1779605"/>
            <a:ext cx="8064500" cy="2700337"/>
          </a:xfrm>
          <a:prstGeom prst="rect">
            <a:avLst/>
          </a:prstGeom>
        </p:spPr>
        <p:txBody>
          <a:bodyPr tIns="719784" anchor="ctr" anchorCtr="0"/>
          <a:lstStyle>
            <a:lvl1pPr algn="ctr">
              <a:defRPr b="0" cap="all" baseline="0">
                <a:latin typeface="+mn-lt"/>
              </a:defRPr>
            </a:lvl1pPr>
          </a:lstStyle>
          <a:p>
            <a:r>
              <a:rPr lang="fr-FR"/>
              <a:t>GRAPHIQU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89" y="4813200"/>
            <a:ext cx="7669213" cy="162000"/>
          </a:xfrm>
          <a:prstGeom prst="rect">
            <a:avLst/>
          </a:prstGeom>
        </p:spPr>
        <p:txBody>
          <a:bodyPr/>
          <a:lstStyle/>
          <a:p>
            <a:fld id="{D9BB8EA0-4FFB-4BAC-A1A6-415BA65BE7E4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>
          <a:xfrm>
            <a:off x="179389" y="4813200"/>
            <a:ext cx="360362" cy="162000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>
                <a:solidFill>
                  <a:prstClr val="white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5"/>
          </p:nvPr>
        </p:nvSpPr>
        <p:spPr bwMode="gray">
          <a:xfrm>
            <a:off x="5652147" y="1743077"/>
            <a:ext cx="2952131" cy="190857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0" name="Espace réservé du texte 13"/>
          <p:cNvSpPr>
            <a:spLocks noGrp="1"/>
          </p:cNvSpPr>
          <p:nvPr>
            <p:ph type="body" sz="quarter" idx="16"/>
          </p:nvPr>
        </p:nvSpPr>
        <p:spPr bwMode="gray">
          <a:xfrm>
            <a:off x="538480" y="371793"/>
            <a:ext cx="8035290" cy="43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3200" b="0" i="0" cap="none" baseline="0">
                <a:solidFill>
                  <a:srgbClr val="71B304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1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2" y="950913"/>
            <a:ext cx="8064500" cy="432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i="0" cap="none" baseline="0">
                <a:solidFill>
                  <a:srgbClr val="747678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30139069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_tableau_typ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89" y="4813200"/>
            <a:ext cx="7669213" cy="162000"/>
          </a:xfrm>
          <a:prstGeom prst="rect">
            <a:avLst/>
          </a:prstGeom>
        </p:spPr>
        <p:txBody>
          <a:bodyPr/>
          <a:lstStyle/>
          <a:p>
            <a:fld id="{FA9067BA-E027-4806-A2C6-59CFCF450664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>
          <a:xfrm>
            <a:off x="179389" y="4813200"/>
            <a:ext cx="360362" cy="162000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>
                <a:solidFill>
                  <a:prstClr val="white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13" name="Espace réservé du tableau 12"/>
          <p:cNvSpPr>
            <a:spLocks noGrp="1"/>
          </p:cNvSpPr>
          <p:nvPr>
            <p:ph type="tbl" sz="quarter" idx="14"/>
          </p:nvPr>
        </p:nvSpPr>
        <p:spPr bwMode="gray">
          <a:xfrm>
            <a:off x="539766" y="1779588"/>
            <a:ext cx="8064499" cy="2340000"/>
          </a:xfrm>
          <a:prstGeom prst="rect">
            <a:avLst/>
          </a:prstGeom>
        </p:spPr>
        <p:txBody>
          <a:bodyPr tIns="719784" anchor="ctr" anchorCtr="0"/>
          <a:lstStyle>
            <a:lvl1pPr algn="ctr">
              <a:spcAft>
                <a:spcPts val="0"/>
              </a:spcAft>
              <a:defRPr b="0" cap="all" baseline="0"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987674" y="4146620"/>
            <a:ext cx="900000" cy="216000"/>
          </a:xfrm>
          <a:prstGeom prst="rect">
            <a:avLst/>
          </a:prstGeo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8" name="Espace réservé du texte 16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807804" y="4209318"/>
            <a:ext cx="93600" cy="93600"/>
          </a:xfrm>
          <a:prstGeom prst="ellipse">
            <a:avLst/>
          </a:prstGeom>
          <a:solidFill>
            <a:schemeClr val="accent1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9" name="Espace réservé du texte 16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166818" y="4146620"/>
            <a:ext cx="900000" cy="216000"/>
          </a:xfrm>
          <a:prstGeom prst="rect">
            <a:avLst/>
          </a:prstGeo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0" name="Espace réservé du texte 1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986948" y="4209318"/>
            <a:ext cx="93600" cy="93600"/>
          </a:xfrm>
          <a:prstGeom prst="ellipse">
            <a:avLst/>
          </a:prstGeom>
          <a:solidFill>
            <a:schemeClr val="accent2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1" name="Espace réservé du texte 16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345962" y="4146620"/>
            <a:ext cx="900000" cy="216000"/>
          </a:xfrm>
          <a:prstGeom prst="rect">
            <a:avLst/>
          </a:prstGeo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2" name="Espace réservé du texte 1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166092" y="4209318"/>
            <a:ext cx="93600" cy="93600"/>
          </a:xfrm>
          <a:prstGeom prst="ellipse">
            <a:avLst/>
          </a:prstGeom>
          <a:solidFill>
            <a:schemeClr val="accent4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3" name="Espace réservé du texte 16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525106" y="4146620"/>
            <a:ext cx="900000" cy="216000"/>
          </a:xfrm>
          <a:prstGeom prst="rect">
            <a:avLst/>
          </a:prstGeo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4" name="Espace réservé du texte 16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345236" y="4209318"/>
            <a:ext cx="93600" cy="93600"/>
          </a:xfrm>
          <a:prstGeom prst="ellipse">
            <a:avLst/>
          </a:prstGeom>
          <a:solidFill>
            <a:schemeClr val="accent5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5" name="Espace réservé du texte 16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704250" y="4146620"/>
            <a:ext cx="900000" cy="216000"/>
          </a:xfrm>
          <a:prstGeom prst="rect">
            <a:avLst/>
          </a:prstGeo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6" name="Espace réservé du texte 16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7524380" y="4209318"/>
            <a:ext cx="93600" cy="93600"/>
          </a:xfrm>
          <a:prstGeom prst="ellipse">
            <a:avLst/>
          </a:prstGeom>
          <a:solidFill>
            <a:schemeClr val="bg2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7" name="Espace réservé du texte 13"/>
          <p:cNvSpPr>
            <a:spLocks noGrp="1"/>
          </p:cNvSpPr>
          <p:nvPr>
            <p:ph type="body" sz="quarter" idx="25"/>
          </p:nvPr>
        </p:nvSpPr>
        <p:spPr bwMode="gray">
          <a:xfrm>
            <a:off x="538480" y="371793"/>
            <a:ext cx="8035290" cy="43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3200" b="0" i="0" cap="none" baseline="0">
                <a:solidFill>
                  <a:srgbClr val="71B304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8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2" y="950913"/>
            <a:ext cx="8064500" cy="432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i="0" cap="none" baseline="0">
                <a:solidFill>
                  <a:srgbClr val="747678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97008391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_tableau_typ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89" y="4813200"/>
            <a:ext cx="7669213" cy="162000"/>
          </a:xfrm>
          <a:prstGeom prst="rect">
            <a:avLst/>
          </a:prstGeom>
        </p:spPr>
        <p:txBody>
          <a:bodyPr/>
          <a:lstStyle/>
          <a:p>
            <a:fld id="{0F632DCA-5AEC-48C4-B862-BA8CD1363532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>
          <a:xfrm>
            <a:off x="179389" y="4813200"/>
            <a:ext cx="360362" cy="162000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>
                <a:solidFill>
                  <a:prstClr val="white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13" name="Espace réservé du tableau 12"/>
          <p:cNvSpPr>
            <a:spLocks noGrp="1"/>
          </p:cNvSpPr>
          <p:nvPr>
            <p:ph type="tbl" sz="quarter" idx="14"/>
          </p:nvPr>
        </p:nvSpPr>
        <p:spPr bwMode="gray">
          <a:xfrm>
            <a:off x="539766" y="1779588"/>
            <a:ext cx="8064499" cy="2160000"/>
          </a:xfrm>
          <a:prstGeom prst="rect">
            <a:avLst/>
          </a:prstGeom>
        </p:spPr>
        <p:txBody>
          <a:bodyPr tIns="719784" anchor="ctr" anchorCtr="0"/>
          <a:lstStyle>
            <a:lvl1pPr algn="ctr">
              <a:spcAft>
                <a:spcPts val="0"/>
              </a:spcAft>
              <a:defRPr b="0" cap="all" baseline="0"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987674" y="4148070"/>
            <a:ext cx="900000" cy="216000"/>
          </a:xfrm>
          <a:prstGeom prst="rect">
            <a:avLst/>
          </a:prstGeo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8" name="Espace réservé du texte 16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807804" y="4209318"/>
            <a:ext cx="93600" cy="93600"/>
          </a:xfrm>
          <a:prstGeom prst="ellipse">
            <a:avLst/>
          </a:prstGeom>
          <a:solidFill>
            <a:schemeClr val="accent6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9" name="Espace réservé du texte 16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166818" y="4148070"/>
            <a:ext cx="900000" cy="216000"/>
          </a:xfrm>
          <a:prstGeom prst="rect">
            <a:avLst/>
          </a:prstGeo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0" name="Espace réservé du texte 1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986948" y="4209318"/>
            <a:ext cx="93600" cy="93600"/>
          </a:xfrm>
          <a:prstGeom prst="ellipse">
            <a:avLst/>
          </a:prstGeom>
          <a:solidFill>
            <a:schemeClr val="accent2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1" name="Espace réservé du texte 16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345962" y="4148070"/>
            <a:ext cx="900000" cy="216000"/>
          </a:xfrm>
          <a:prstGeom prst="rect">
            <a:avLst/>
          </a:prstGeo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2" name="Espace réservé du texte 1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166092" y="4209318"/>
            <a:ext cx="93600" cy="93600"/>
          </a:xfrm>
          <a:prstGeom prst="ellipse">
            <a:avLst/>
          </a:prstGeom>
          <a:solidFill>
            <a:schemeClr val="accent4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3" name="Espace réservé du texte 16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525106" y="4148070"/>
            <a:ext cx="900000" cy="216000"/>
          </a:xfrm>
          <a:prstGeom prst="rect">
            <a:avLst/>
          </a:prstGeo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4" name="Espace réservé du texte 16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345236" y="4209318"/>
            <a:ext cx="93600" cy="93600"/>
          </a:xfrm>
          <a:prstGeom prst="ellipse">
            <a:avLst/>
          </a:prstGeom>
          <a:solidFill>
            <a:schemeClr val="accent5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5" name="Espace réservé du texte 16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704250" y="4148070"/>
            <a:ext cx="900000" cy="216000"/>
          </a:xfrm>
          <a:prstGeom prst="rect">
            <a:avLst/>
          </a:prstGeo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6" name="Espace réservé du texte 16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7524380" y="4209318"/>
            <a:ext cx="93600" cy="93600"/>
          </a:xfrm>
          <a:prstGeom prst="ellipse">
            <a:avLst/>
          </a:prstGeom>
          <a:solidFill>
            <a:schemeClr val="bg2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7" name="Espace réservé du texte 13"/>
          <p:cNvSpPr>
            <a:spLocks noGrp="1"/>
          </p:cNvSpPr>
          <p:nvPr>
            <p:ph type="body" sz="quarter" idx="25"/>
          </p:nvPr>
        </p:nvSpPr>
        <p:spPr bwMode="gray">
          <a:xfrm>
            <a:off x="538480" y="371793"/>
            <a:ext cx="8035290" cy="43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3200" b="0" i="0" cap="none" baseline="0">
                <a:solidFill>
                  <a:srgbClr val="71B304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8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2" y="950913"/>
            <a:ext cx="8064500" cy="432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i="0" cap="none" baseline="0">
                <a:solidFill>
                  <a:srgbClr val="747678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08911016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&amp;_cartouche_dro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539766" y="485802"/>
            <a:ext cx="8064499" cy="4651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FR" noProof="0" err="1"/>
              <a:t>Titr</a:t>
            </a:r>
            <a:endParaRPr lang="fr-FR" noProof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1" y="1743075"/>
            <a:ext cx="3960000" cy="2736850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89" y="4813200"/>
            <a:ext cx="7669213" cy="162000"/>
          </a:xfrm>
          <a:prstGeom prst="rect">
            <a:avLst/>
          </a:prstGeom>
        </p:spPr>
        <p:txBody>
          <a:bodyPr/>
          <a:lstStyle/>
          <a:p>
            <a:fld id="{1C0A69B5-6C66-429A-A665-F61690F9EE8A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>
          <a:xfrm>
            <a:off x="179389" y="4813200"/>
            <a:ext cx="360362" cy="162000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>
                <a:solidFill>
                  <a:prstClr val="white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2" y="950913"/>
            <a:ext cx="8064500" cy="432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i="0" cap="none" baseline="0">
                <a:solidFill>
                  <a:srgbClr val="747678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/>
          </p:nvPr>
        </p:nvSpPr>
        <p:spPr bwMode="gray">
          <a:xfrm>
            <a:off x="4644250" y="1779588"/>
            <a:ext cx="3960000" cy="486000"/>
          </a:xfrm>
          <a:prstGeom prst="rect">
            <a:avLst/>
          </a:prstGeom>
          <a:solidFill>
            <a:srgbClr val="71B304"/>
          </a:solidFill>
        </p:spPr>
        <p:txBody>
          <a:bodyPr lIns="287916" tIns="17999" rIns="71982" bIns="0" anchor="ctr" anchorCtr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b="0" cap="none" baseline="0">
                <a:solidFill>
                  <a:schemeClr val="bg1"/>
                </a:solidFill>
                <a:latin typeface="Avenir Black"/>
                <a:cs typeface="Avenir Black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du texte 11"/>
          <p:cNvSpPr>
            <a:spLocks noGrp="1"/>
          </p:cNvSpPr>
          <p:nvPr>
            <p:ph type="body" sz="quarter" idx="15"/>
          </p:nvPr>
        </p:nvSpPr>
        <p:spPr bwMode="gray">
          <a:xfrm>
            <a:off x="4644250" y="2355727"/>
            <a:ext cx="3960000" cy="1944812"/>
          </a:xfrm>
          <a:prstGeom prst="rect">
            <a:avLst/>
          </a:prstGeom>
          <a:solidFill>
            <a:srgbClr val="71B304"/>
          </a:solidFill>
        </p:spPr>
        <p:txBody>
          <a:bodyPr wrap="square" lIns="143963" tIns="71982" rIns="71982" bIns="71982" anchor="t" anchorCtr="0">
            <a:noAutofit/>
          </a:bodyPr>
          <a:lstStyle>
            <a:lvl1pPr marL="143963" indent="-143963">
              <a:buFont typeface="Avenir LT Std 45 Book" pitchFamily="34" charset="0"/>
              <a:buChar char="+"/>
              <a:defRPr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1" name="Espace réservé du texte 13"/>
          <p:cNvSpPr>
            <a:spLocks noGrp="1"/>
          </p:cNvSpPr>
          <p:nvPr>
            <p:ph type="body" sz="quarter" idx="16"/>
          </p:nvPr>
        </p:nvSpPr>
        <p:spPr bwMode="gray">
          <a:xfrm>
            <a:off x="538480" y="371793"/>
            <a:ext cx="8035290" cy="43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3200" b="0" i="0" cap="none" baseline="0">
                <a:solidFill>
                  <a:srgbClr val="71B304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80087072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&amp;_cartouche_gau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4824250" y="1156815"/>
            <a:ext cx="3780000" cy="33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1B304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89" y="4813200"/>
            <a:ext cx="7669213" cy="162000"/>
          </a:xfrm>
          <a:prstGeom prst="rect">
            <a:avLst/>
          </a:prstGeom>
        </p:spPr>
        <p:txBody>
          <a:bodyPr/>
          <a:lstStyle/>
          <a:p>
            <a:fld id="{C9D839B7-9AE6-4DB9-AED7-3093FD1B6D42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>
          <a:xfrm>
            <a:off x="179389" y="4813200"/>
            <a:ext cx="360362" cy="162000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>
                <a:solidFill>
                  <a:prstClr val="white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/>
          </p:nvPr>
        </p:nvSpPr>
        <p:spPr bwMode="gray">
          <a:xfrm>
            <a:off x="539750" y="519523"/>
            <a:ext cx="3780000" cy="3781016"/>
          </a:xfrm>
          <a:prstGeom prst="rect">
            <a:avLst/>
          </a:prstGeom>
          <a:solidFill>
            <a:srgbClr val="71B304"/>
          </a:solidFill>
        </p:spPr>
        <p:txBody>
          <a:bodyPr lIns="287916" tIns="629819" rIns="71982" bIns="107964" anchor="t" anchorCtr="0">
            <a:noAutofit/>
          </a:bodyPr>
          <a:lstStyle>
            <a:lvl1pPr marL="215930" indent="-215930">
              <a:lnSpc>
                <a:spcPct val="90000"/>
              </a:lnSpc>
              <a:spcAft>
                <a:spcPts val="0"/>
              </a:spcAft>
              <a:buFont typeface="Avenir LT Std 65 Medium" pitchFamily="34" charset="0"/>
              <a:buChar char="+"/>
              <a:defRPr sz="2200" b="0" cap="none" baseline="0">
                <a:solidFill>
                  <a:schemeClr val="bg1"/>
                </a:solidFill>
                <a:latin typeface="Avenir LT Std 65 Medium" pitchFamily="34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97551924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_&amp;_2_cartouch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89" y="4813200"/>
            <a:ext cx="7669213" cy="162000"/>
          </a:xfrm>
          <a:prstGeom prst="rect">
            <a:avLst/>
          </a:prstGeom>
        </p:spPr>
        <p:txBody>
          <a:bodyPr/>
          <a:lstStyle/>
          <a:p>
            <a:fld id="{083A57E3-C9CF-4606-AD67-152F170C01A4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>
          <a:xfrm>
            <a:off x="179389" y="4813200"/>
            <a:ext cx="360362" cy="162000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>
                <a:solidFill>
                  <a:prstClr val="white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13" name="Espace réservé du texte 11"/>
          <p:cNvSpPr>
            <a:spLocks noGrp="1"/>
          </p:cNvSpPr>
          <p:nvPr>
            <p:ph type="body" sz="quarter" idx="15"/>
          </p:nvPr>
        </p:nvSpPr>
        <p:spPr bwMode="gray">
          <a:xfrm>
            <a:off x="4824250" y="519113"/>
            <a:ext cx="3780000" cy="3781425"/>
          </a:xfrm>
          <a:prstGeom prst="rect">
            <a:avLst/>
          </a:prstGeom>
          <a:noFill/>
        </p:spPr>
        <p:txBody>
          <a:bodyPr lIns="0" tIns="35988" rIns="0" bIns="0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2200" b="0" cap="none" baseline="0">
                <a:solidFill>
                  <a:srgbClr val="71B304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930339" y="2049826"/>
            <a:ext cx="720000" cy="720000"/>
          </a:xfrm>
          <a:prstGeom prst="diamond">
            <a:avLst/>
          </a:prstGeom>
          <a:solidFill>
            <a:srgbClr val="71B304"/>
          </a:solidFill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100" b="0" cap="all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/>
          </p:nvPr>
        </p:nvSpPr>
        <p:spPr bwMode="gray">
          <a:xfrm>
            <a:off x="539750" y="519115"/>
            <a:ext cx="3780000" cy="3781424"/>
          </a:xfrm>
          <a:prstGeom prst="rect">
            <a:avLst/>
          </a:prstGeom>
          <a:solidFill>
            <a:srgbClr val="71B304"/>
          </a:solidFill>
        </p:spPr>
        <p:txBody>
          <a:bodyPr lIns="287916" tIns="143963" rIns="71982" bIns="107964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22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2677226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3"/>
          </a:xfrm>
          <a:prstGeom prst="rect">
            <a:avLst/>
          </a:prstGeom>
        </p:spPr>
        <p:txBody>
          <a:bodyPr/>
          <a:lstStyle/>
          <a:p>
            <a:fld id="{D91DC166-3F88-4849-A61A-AD75C82AAE0A}" type="datetimeFigureOut">
              <a:rPr lang="fr-FR" smtClean="0"/>
              <a:t>17/01/2022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3"/>
          </a:xfrm>
          <a:prstGeom prst="rect">
            <a:avLst/>
          </a:prstGeom>
        </p:spPr>
        <p:txBody>
          <a:bodyPr/>
          <a:lstStyle/>
          <a:p>
            <a:fld id="{44AC34E9-4D80-9947-9379-C8B62DEAC814}" type="slidenum">
              <a:rPr lang="fr-FR" smtClean="0"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artouches_petites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9751" y="2427479"/>
            <a:ext cx="2520082" cy="1873085"/>
          </a:xfrm>
          <a:prstGeom prst="rect">
            <a:avLst/>
          </a:prstGeom>
          <a:solidFill>
            <a:srgbClr val="D7D7D7"/>
          </a:solidFill>
        </p:spPr>
        <p:txBody>
          <a:bodyPr lIns="143963" tIns="1007700" rIns="71982" bIns="35988" anchor="t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1200" b="0" cap="all" baseline="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539766" y="485802"/>
            <a:ext cx="8064499" cy="4651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89" y="4813200"/>
            <a:ext cx="7669213" cy="162000"/>
          </a:xfrm>
          <a:prstGeom prst="rect">
            <a:avLst/>
          </a:prstGeom>
        </p:spPr>
        <p:txBody>
          <a:bodyPr/>
          <a:lstStyle/>
          <a:p>
            <a:fld id="{41B97206-D6FD-4520-BFCD-C3B2FDDA480B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>
          <a:xfrm>
            <a:off x="179389" y="4813200"/>
            <a:ext cx="360362" cy="162000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>
                <a:solidFill>
                  <a:prstClr val="white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2" y="950913"/>
            <a:ext cx="8064500" cy="432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39751" y="1779588"/>
            <a:ext cx="2520082" cy="648000"/>
          </a:xfrm>
          <a:prstGeom prst="rect">
            <a:avLst/>
          </a:prstGeom>
          <a:solidFill>
            <a:srgbClr val="71B304"/>
          </a:solidFill>
        </p:spPr>
        <p:txBody>
          <a:bodyPr lIns="143963" tIns="71982" rIns="71982" bIns="35988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0. titre</a:t>
            </a:r>
          </a:p>
        </p:txBody>
      </p:sp>
      <p:sp>
        <p:nvSpPr>
          <p:cNvPr id="17" name="Espace réservé pour une image  10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83568" y="2499833"/>
            <a:ext cx="828000" cy="828000"/>
          </a:xfrm>
          <a:prstGeom prst="rect">
            <a:avLst/>
          </a:prstGeom>
          <a:noFill/>
        </p:spPr>
        <p:txBody>
          <a:bodyPr lIns="0" tIns="0" rIns="0" anchor="ctr" anchorCtr="0"/>
          <a:lstStyle>
            <a:lvl1pPr algn="ctr">
              <a:defRPr sz="800" b="0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fr-FR"/>
              <a:t>Sélectionner l’icône pour insérer une image (format 23 x 23 mm)</a:t>
            </a:r>
          </a:p>
        </p:txBody>
      </p:sp>
      <p:sp>
        <p:nvSpPr>
          <p:cNvPr id="18" name="Espace réservé du texte 11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311961" y="2427480"/>
            <a:ext cx="2520082" cy="1873085"/>
          </a:xfrm>
          <a:prstGeom prst="rect">
            <a:avLst/>
          </a:prstGeom>
          <a:solidFill>
            <a:srgbClr val="D7D7D7"/>
          </a:solidFill>
        </p:spPr>
        <p:txBody>
          <a:bodyPr lIns="143963" tIns="1007700" rIns="71982" bIns="35988" anchor="t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1200" b="0" cap="all" baseline="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9" name="Espace réservé du texte 11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311961" y="1779589"/>
            <a:ext cx="2520082" cy="648000"/>
          </a:xfrm>
          <a:prstGeom prst="rect">
            <a:avLst/>
          </a:prstGeom>
          <a:solidFill>
            <a:srgbClr val="71B304"/>
          </a:solidFill>
        </p:spPr>
        <p:txBody>
          <a:bodyPr lIns="143963" tIns="71982" rIns="71982" bIns="35988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0. titre</a:t>
            </a:r>
          </a:p>
        </p:txBody>
      </p:sp>
      <p:sp>
        <p:nvSpPr>
          <p:cNvPr id="20" name="Espace réservé pour une image  10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3455777" y="2499834"/>
            <a:ext cx="828000" cy="828000"/>
          </a:xfrm>
          <a:prstGeom prst="rect">
            <a:avLst/>
          </a:prstGeom>
          <a:noFill/>
        </p:spPr>
        <p:txBody>
          <a:bodyPr lIns="0" tIns="0" rIns="0" anchor="ctr" anchorCtr="0"/>
          <a:lstStyle>
            <a:lvl1pPr algn="ctr">
              <a:defRPr sz="800" b="0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fr-FR"/>
              <a:t>Sélectionner l’icône pour insérer une image (format 23 x 23 mm)</a:t>
            </a:r>
          </a:p>
        </p:txBody>
      </p:sp>
      <p:sp>
        <p:nvSpPr>
          <p:cNvPr id="21" name="Espace réservé du texte 11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084168" y="2427480"/>
            <a:ext cx="2520082" cy="1873085"/>
          </a:xfrm>
          <a:prstGeom prst="rect">
            <a:avLst/>
          </a:prstGeom>
          <a:solidFill>
            <a:srgbClr val="71B304"/>
          </a:solidFill>
        </p:spPr>
        <p:txBody>
          <a:bodyPr lIns="143963" tIns="1007700" rIns="71982" bIns="35988" anchor="t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1200" b="0" cap="all" baseline="0">
                <a:solidFill>
                  <a:schemeClr val="bg1"/>
                </a:solidFill>
                <a:latin typeface="Avenir LT Std 35 Light" pitchFamily="34" charset="0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2" name="Espace réservé du texte 11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084168" y="1779589"/>
            <a:ext cx="2520082" cy="648000"/>
          </a:xfrm>
          <a:prstGeom prst="rect">
            <a:avLst/>
          </a:prstGeom>
          <a:solidFill>
            <a:srgbClr val="71B304"/>
          </a:solidFill>
        </p:spPr>
        <p:txBody>
          <a:bodyPr lIns="143963" tIns="71982" rIns="71982" bIns="35988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0. titre</a:t>
            </a:r>
          </a:p>
        </p:txBody>
      </p:sp>
      <p:sp>
        <p:nvSpPr>
          <p:cNvPr id="23" name="Espace réservé pour une image  10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6227986" y="2499834"/>
            <a:ext cx="828000" cy="828000"/>
          </a:xfrm>
          <a:prstGeom prst="rect">
            <a:avLst/>
          </a:prstGeom>
          <a:noFill/>
        </p:spPr>
        <p:txBody>
          <a:bodyPr lIns="0" tIns="0" rIns="0" anchor="ctr" anchorCtr="0"/>
          <a:lstStyle>
            <a:lvl1pPr algn="ctr">
              <a:defRPr sz="800" b="0" cap="all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/>
              <a:t>Sélectionner l’icône pour insérer une image (format 23 x 23 mm)</a:t>
            </a:r>
          </a:p>
        </p:txBody>
      </p:sp>
      <p:sp>
        <p:nvSpPr>
          <p:cNvPr id="24" name="Espace réservé du texte 13"/>
          <p:cNvSpPr>
            <a:spLocks noGrp="1"/>
          </p:cNvSpPr>
          <p:nvPr>
            <p:ph type="body" sz="quarter" idx="16"/>
          </p:nvPr>
        </p:nvSpPr>
        <p:spPr bwMode="gray">
          <a:xfrm>
            <a:off x="538480" y="371793"/>
            <a:ext cx="8035290" cy="43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3200" b="0" i="0" cap="none" baseline="0">
                <a:solidFill>
                  <a:srgbClr val="71B304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89092149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artouches_grandes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539766" y="485802"/>
            <a:ext cx="8064499" cy="4651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89" y="4813200"/>
            <a:ext cx="7669213" cy="162000"/>
          </a:xfrm>
          <a:prstGeom prst="rect">
            <a:avLst/>
          </a:prstGeom>
        </p:spPr>
        <p:txBody>
          <a:bodyPr/>
          <a:lstStyle/>
          <a:p>
            <a:fld id="{DEE2A45F-E2DC-453D-ADD8-0BEA537D77E1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>
          <a:xfrm>
            <a:off x="179389" y="4813200"/>
            <a:ext cx="360362" cy="162000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>
                <a:solidFill>
                  <a:prstClr val="white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2" y="950913"/>
            <a:ext cx="8064500" cy="432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39751" y="1779588"/>
            <a:ext cx="2520082" cy="648000"/>
          </a:xfrm>
          <a:prstGeom prst="rect">
            <a:avLst/>
          </a:prstGeom>
          <a:solidFill>
            <a:srgbClr val="71B304"/>
          </a:solidFill>
        </p:spPr>
        <p:txBody>
          <a:bodyPr lIns="143963" tIns="71982" rIns="71982" bIns="35988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0. titre</a:t>
            </a:r>
          </a:p>
        </p:txBody>
      </p:sp>
      <p:sp>
        <p:nvSpPr>
          <p:cNvPr id="17" name="Espace réservé pour une image  10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539832" y="2427589"/>
            <a:ext cx="2520000" cy="1872950"/>
          </a:xfrm>
          <a:prstGeom prst="rect">
            <a:avLst/>
          </a:prstGeom>
          <a:solidFill>
            <a:srgbClr val="D7D7D7"/>
          </a:solidFill>
        </p:spPr>
        <p:txBody>
          <a:bodyPr lIns="35988" tIns="971712" rIns="35988" anchor="ctr" anchorCtr="0"/>
          <a:lstStyle>
            <a:lvl1pPr algn="ctr">
              <a:defRPr sz="1300" b="0" cap="all" baseline="0">
                <a:solidFill>
                  <a:srgbClr val="71B304"/>
                </a:solidFill>
                <a:latin typeface="+mn-lt"/>
              </a:defRPr>
            </a:lvl1pPr>
          </a:lstStyle>
          <a:p>
            <a:r>
              <a:rPr lang="fr-FR"/>
              <a:t>Sélectionner l’icône pour insérer une image format ( 70 x 52 mm)</a:t>
            </a:r>
          </a:p>
        </p:txBody>
      </p:sp>
      <p:sp>
        <p:nvSpPr>
          <p:cNvPr id="25" name="Espace réservé du texte 11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311961" y="1779588"/>
            <a:ext cx="2520082" cy="648000"/>
          </a:xfrm>
          <a:prstGeom prst="rect">
            <a:avLst/>
          </a:prstGeom>
          <a:solidFill>
            <a:srgbClr val="71B304"/>
          </a:solidFill>
        </p:spPr>
        <p:txBody>
          <a:bodyPr lIns="143963" tIns="71982" rIns="71982" bIns="35988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0. titre</a:t>
            </a:r>
          </a:p>
        </p:txBody>
      </p:sp>
      <p:sp>
        <p:nvSpPr>
          <p:cNvPr id="26" name="Espace réservé pour une image  10"/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3312041" y="2427589"/>
            <a:ext cx="2520000" cy="1872950"/>
          </a:xfrm>
          <a:prstGeom prst="rect">
            <a:avLst/>
          </a:prstGeom>
          <a:solidFill>
            <a:srgbClr val="D7D7D7"/>
          </a:solidFill>
        </p:spPr>
        <p:txBody>
          <a:bodyPr lIns="35988" tIns="971712" rIns="35988" anchor="ctr" anchorCtr="0"/>
          <a:lstStyle>
            <a:lvl1pPr algn="ctr">
              <a:defRPr sz="1300" b="0" cap="all" baseline="0">
                <a:solidFill>
                  <a:srgbClr val="71B304"/>
                </a:solidFill>
                <a:latin typeface="+mn-lt"/>
              </a:defRPr>
            </a:lvl1pPr>
          </a:lstStyle>
          <a:p>
            <a:r>
              <a:rPr lang="fr-FR"/>
              <a:t>Sélectionner l’icône pour insérer une image format ( 70 x 52 mm)</a:t>
            </a:r>
          </a:p>
        </p:txBody>
      </p:sp>
      <p:sp>
        <p:nvSpPr>
          <p:cNvPr id="27" name="Espace réservé du texte 11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084168" y="1779588"/>
            <a:ext cx="2520082" cy="648000"/>
          </a:xfrm>
          <a:prstGeom prst="rect">
            <a:avLst/>
          </a:prstGeom>
          <a:solidFill>
            <a:srgbClr val="71B304"/>
          </a:solidFill>
        </p:spPr>
        <p:txBody>
          <a:bodyPr lIns="143963" tIns="71982" rIns="71982" bIns="35988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0. titre</a:t>
            </a:r>
          </a:p>
        </p:txBody>
      </p:sp>
      <p:sp>
        <p:nvSpPr>
          <p:cNvPr id="28" name="Espace réservé pour une image  10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6084250" y="2427589"/>
            <a:ext cx="2520000" cy="1872950"/>
          </a:xfrm>
          <a:prstGeom prst="rect">
            <a:avLst/>
          </a:prstGeom>
          <a:solidFill>
            <a:srgbClr val="D7D7D7"/>
          </a:solidFill>
        </p:spPr>
        <p:txBody>
          <a:bodyPr lIns="35988" tIns="971712" rIns="35988" anchor="ctr" anchorCtr="0"/>
          <a:lstStyle>
            <a:lvl1pPr algn="ctr">
              <a:defRPr sz="1300" b="0" cap="all" baseline="0">
                <a:solidFill>
                  <a:srgbClr val="71B304"/>
                </a:solidFill>
                <a:latin typeface="+mn-lt"/>
              </a:defRPr>
            </a:lvl1pPr>
          </a:lstStyle>
          <a:p>
            <a:r>
              <a:rPr lang="fr-FR"/>
              <a:t>Sélectionner l’icône pour insérer une image format ( 70 x 52 mm)</a:t>
            </a:r>
          </a:p>
        </p:txBody>
      </p:sp>
      <p:sp>
        <p:nvSpPr>
          <p:cNvPr id="13" name="Espace réservé du texte 13"/>
          <p:cNvSpPr>
            <a:spLocks noGrp="1"/>
          </p:cNvSpPr>
          <p:nvPr>
            <p:ph type="body" sz="quarter" idx="16"/>
          </p:nvPr>
        </p:nvSpPr>
        <p:spPr bwMode="gray">
          <a:xfrm>
            <a:off x="538480" y="371793"/>
            <a:ext cx="8035290" cy="43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3200" b="0" i="0" cap="none" baseline="0">
                <a:solidFill>
                  <a:srgbClr val="71B304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83562783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ta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89" y="4813200"/>
            <a:ext cx="7669213" cy="162000"/>
          </a:xfrm>
          <a:prstGeom prst="rect">
            <a:avLst/>
          </a:prstGeom>
        </p:spPr>
        <p:txBody>
          <a:bodyPr/>
          <a:lstStyle/>
          <a:p>
            <a:fld id="{07C4D725-EF78-4ACC-8A50-1FC2BC16E560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>
          <a:xfrm>
            <a:off x="179389" y="4813200"/>
            <a:ext cx="360362" cy="162000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>
                <a:solidFill>
                  <a:prstClr val="white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3"/>
          </p:nvPr>
        </p:nvSpPr>
        <p:spPr bwMode="gray">
          <a:xfrm>
            <a:off x="539752" y="447675"/>
            <a:ext cx="8064500" cy="4032250"/>
          </a:xfrm>
          <a:prstGeom prst="rect">
            <a:avLst/>
          </a:prstGeom>
        </p:spPr>
        <p:txBody>
          <a:bodyPr anchor="ctr" anchorCtr="0"/>
          <a:lstStyle>
            <a:lvl1pPr marL="359892" indent="-359892">
              <a:lnSpc>
                <a:spcPct val="90000"/>
              </a:lnSpc>
              <a:spcBef>
                <a:spcPts val="3200"/>
              </a:spcBef>
              <a:buFont typeface="Avenir LT Std 65 Medium" pitchFamily="34" charset="0"/>
              <a:buChar char="+"/>
              <a:defRPr sz="2800" b="0" cap="all" baseline="0"/>
            </a:lvl1pPr>
            <a:lvl2pPr marL="359892">
              <a:lnSpc>
                <a:spcPct val="90000"/>
              </a:lnSpc>
              <a:spcAft>
                <a:spcPts val="0"/>
              </a:spcAft>
              <a:defRPr sz="1500" cap="all" baseline="0">
                <a:latin typeface="+mn-lt"/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66090020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r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539766" y="485802"/>
            <a:ext cx="8064499" cy="4651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1" y="1743084"/>
            <a:ext cx="3960000" cy="2736851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89" y="4813200"/>
            <a:ext cx="7669213" cy="162000"/>
          </a:xfrm>
          <a:prstGeom prst="rect">
            <a:avLst/>
          </a:prstGeom>
        </p:spPr>
        <p:txBody>
          <a:bodyPr/>
          <a:lstStyle/>
          <a:p>
            <a:fld id="{C71674B5-A288-4E66-BD18-21196E1B2EB2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>
          <a:xfrm>
            <a:off x="179389" y="4813200"/>
            <a:ext cx="360362" cy="162000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>
                <a:solidFill>
                  <a:prstClr val="white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950913"/>
            <a:ext cx="4824000" cy="432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Espace réservé du texte 13"/>
          <p:cNvSpPr>
            <a:spLocks noGrp="1"/>
          </p:cNvSpPr>
          <p:nvPr>
            <p:ph type="body" sz="quarter" idx="16"/>
          </p:nvPr>
        </p:nvSpPr>
        <p:spPr bwMode="gray">
          <a:xfrm>
            <a:off x="538480" y="371793"/>
            <a:ext cx="8035290" cy="43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3200" b="0" i="0" cap="none" baseline="0">
                <a:solidFill>
                  <a:srgbClr val="71B304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79604100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6" y="-1"/>
            <a:ext cx="9143481" cy="5143792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-1"/>
            <a:ext cx="9144000" cy="5143500"/>
          </a:xfrm>
          <a:prstGeom prst="rect">
            <a:avLst/>
          </a:prstGeom>
          <a:solidFill>
            <a:schemeClr val="tx1"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2" tIns="34289" rIns="68562" bIns="34289" rtlCol="0" anchor="ctr"/>
          <a:lstStyle/>
          <a:p>
            <a:pPr algn="ctr" defTabSz="685596"/>
            <a:endParaRPr lang="fr-FR" sz="1400">
              <a:solidFill>
                <a:prstClr val="white"/>
              </a:solidFill>
            </a:endParaRP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1" hasCustomPrompt="1"/>
          </p:nvPr>
        </p:nvSpPr>
        <p:spPr>
          <a:xfrm>
            <a:off x="801322" y="1903508"/>
            <a:ext cx="6272213" cy="1340563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4500">
                <a:solidFill>
                  <a:schemeClr val="bg1"/>
                </a:solidFill>
                <a:latin typeface="Avenir Light"/>
              </a:defRPr>
            </a:lvl1pPr>
          </a:lstStyle>
          <a:p>
            <a:pPr lvl="0"/>
            <a:r>
              <a:rPr lang="fr-FR"/>
              <a:t>Modifier le style du titr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 hasCustomPrompt="1"/>
          </p:nvPr>
        </p:nvSpPr>
        <p:spPr>
          <a:xfrm>
            <a:off x="801322" y="3400828"/>
            <a:ext cx="6272213" cy="792956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2300">
                <a:solidFill>
                  <a:schemeClr val="bg1"/>
                </a:solidFill>
                <a:latin typeface="Avenir Light"/>
              </a:defRPr>
            </a:lvl1pPr>
          </a:lstStyle>
          <a:p>
            <a:pPr lvl="0"/>
            <a:r>
              <a:rPr lang="fr-FR"/>
              <a:t>Modifier le texte</a:t>
            </a: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5414" y="4540931"/>
            <a:ext cx="457240" cy="452667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23528" y="4636975"/>
            <a:ext cx="502964" cy="260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29038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5"/>
          <p:cNvSpPr>
            <a:spLocks noGrp="1"/>
          </p:cNvSpPr>
          <p:nvPr>
            <p:ph type="body" sz="quarter" idx="11" hasCustomPrompt="1"/>
          </p:nvPr>
        </p:nvSpPr>
        <p:spPr>
          <a:xfrm>
            <a:off x="801322" y="1903508"/>
            <a:ext cx="6272213" cy="1340563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4500">
                <a:solidFill>
                  <a:schemeClr val="bg1"/>
                </a:solidFill>
                <a:latin typeface="Avenir Light"/>
              </a:defRPr>
            </a:lvl1pPr>
          </a:lstStyle>
          <a:p>
            <a:pPr lvl="0"/>
            <a:r>
              <a:rPr lang="fr-FR"/>
              <a:t>Modifier le style du titre</a:t>
            </a:r>
          </a:p>
        </p:txBody>
      </p:sp>
      <p:sp>
        <p:nvSpPr>
          <p:cNvPr id="5" name="Espace réservé du texte 7"/>
          <p:cNvSpPr>
            <a:spLocks noGrp="1"/>
          </p:cNvSpPr>
          <p:nvPr>
            <p:ph type="body" sz="quarter" idx="12" hasCustomPrompt="1"/>
          </p:nvPr>
        </p:nvSpPr>
        <p:spPr>
          <a:xfrm>
            <a:off x="801322" y="3400828"/>
            <a:ext cx="6272213" cy="792956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2300">
                <a:solidFill>
                  <a:schemeClr val="bg1"/>
                </a:solidFill>
                <a:latin typeface="Avenir Light"/>
              </a:defRPr>
            </a:lvl1pPr>
          </a:lstStyle>
          <a:p>
            <a:pPr lvl="0"/>
            <a:r>
              <a:rPr lang="fr-FR"/>
              <a:t>Modifier le texte</a:t>
            </a:r>
          </a:p>
        </p:txBody>
      </p:sp>
    </p:spTree>
    <p:extLst>
      <p:ext uri="{BB962C8B-B14F-4D97-AF65-F5344CB8AC3E}">
        <p14:creationId xmlns:p14="http://schemas.microsoft.com/office/powerpoint/2010/main" val="213164182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5414" y="4540931"/>
            <a:ext cx="457240" cy="452667"/>
          </a:xfrm>
          <a:prstGeom prst="rect">
            <a:avLst/>
          </a:prstGeom>
        </p:spPr>
      </p:pic>
      <p:pic>
        <p:nvPicPr>
          <p:cNvPr id="2" name="Image 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78089" y="-588613"/>
            <a:ext cx="5784163" cy="6065990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23528" y="4636975"/>
            <a:ext cx="502964" cy="260627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5717" y="-1393721"/>
            <a:ext cx="4183742" cy="4394073"/>
          </a:xfrm>
          <a:prstGeom prst="rect">
            <a:avLst/>
          </a:prstGeom>
        </p:spPr>
      </p:pic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5791630" y="1688155"/>
            <a:ext cx="3034862" cy="994172"/>
          </a:xfrm>
          <a:prstGeom prst="rect">
            <a:avLst/>
          </a:prstGeom>
        </p:spPr>
        <p:txBody>
          <a:bodyPr lIns="68562" tIns="34289" rIns="68562" bIns="34289"/>
          <a:lstStyle>
            <a:lvl1pPr>
              <a:defRPr sz="2300" b="1">
                <a:solidFill>
                  <a:schemeClr val="bg1"/>
                </a:solidFill>
                <a:latin typeface="Avenir LT Std 65 Medium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/>
          </p:nvPr>
        </p:nvSpPr>
        <p:spPr>
          <a:xfrm>
            <a:off x="5792095" y="2863704"/>
            <a:ext cx="3034903" cy="1103710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1200">
                <a:solidFill>
                  <a:schemeClr val="bg1"/>
                </a:solidFill>
                <a:latin typeface="Avenir Book"/>
              </a:defRPr>
            </a:lvl1pPr>
          </a:lstStyle>
          <a:p>
            <a:pPr lvl="0"/>
            <a:r>
              <a:rPr lang="fr-FR"/>
              <a:t>Modifiez les styles du texte </a:t>
            </a:r>
          </a:p>
        </p:txBody>
      </p:sp>
    </p:spTree>
    <p:extLst>
      <p:ext uri="{BB962C8B-B14F-4D97-AF65-F5344CB8AC3E}">
        <p14:creationId xmlns:p14="http://schemas.microsoft.com/office/powerpoint/2010/main" val="245748292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9144002" cy="51435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1138" y="-2794360"/>
            <a:ext cx="4904532" cy="5143500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6457990" y="-3581261"/>
            <a:ext cx="4899509" cy="5143500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5414" y="4540931"/>
            <a:ext cx="457240" cy="452667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23528" y="4636975"/>
            <a:ext cx="502964" cy="260627"/>
          </a:xfrm>
          <a:prstGeom prst="rect">
            <a:avLst/>
          </a:prstGeom>
        </p:spPr>
      </p:pic>
      <p:sp>
        <p:nvSpPr>
          <p:cNvPr id="3" name="Espace réservé du texte 2"/>
          <p:cNvSpPr>
            <a:spLocks noGrp="1"/>
          </p:cNvSpPr>
          <p:nvPr>
            <p:ph type="body" sz="quarter" idx="13"/>
          </p:nvPr>
        </p:nvSpPr>
        <p:spPr>
          <a:xfrm>
            <a:off x="772733" y="1774031"/>
            <a:ext cx="3539153" cy="2466975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1100">
                <a:latin typeface="Avenir LT Std 65 Medium"/>
              </a:defRPr>
            </a:lvl1pPr>
          </a:lstStyle>
          <a:p>
            <a:pPr lvl="0"/>
            <a:r>
              <a:rPr lang="fr-FR"/>
              <a:t>Modifiez les styles du texte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4"/>
          </p:nvPr>
        </p:nvSpPr>
        <p:spPr>
          <a:xfrm>
            <a:off x="772716" y="465577"/>
            <a:ext cx="4540264" cy="827198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lang="fr-FR" sz="2300" b="1" kern="1200" baseline="0" dirty="0">
                <a:solidFill>
                  <a:schemeClr val="tx1"/>
                </a:solidFill>
                <a:latin typeface="Avenir LT Std 65 Medium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difiez les styles du texte</a:t>
            </a:r>
            <a:r>
              <a:rPr lang="fr-FR" sz="2300" b="1" cap="none">
                <a:solidFill>
                  <a:srgbClr val="76B900"/>
                </a:solidFill>
                <a:ea typeface="Avenir Black" charset="0"/>
                <a:cs typeface="Avenir Black" charset="0"/>
              </a:rPr>
              <a:t> </a:t>
            </a:r>
            <a:endParaRPr lang="fr-FR"/>
          </a:p>
        </p:txBody>
      </p:sp>
      <p:sp>
        <p:nvSpPr>
          <p:cNvPr id="13" name="Espace réservé pour une image  12"/>
          <p:cNvSpPr>
            <a:spLocks noGrp="1"/>
          </p:cNvSpPr>
          <p:nvPr>
            <p:ph type="pic" sz="quarter" idx="15"/>
          </p:nvPr>
        </p:nvSpPr>
        <p:spPr>
          <a:xfrm>
            <a:off x="4863705" y="1562239"/>
            <a:ext cx="3459824" cy="2678768"/>
          </a:xfrm>
          <a:prstGeom prst="rect">
            <a:avLst/>
          </a:prstGeom>
        </p:spPr>
        <p:txBody>
          <a:bodyPr lIns="68562" tIns="34289" rIns="68562" bIns="34289"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3725282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9144002" cy="51435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1138" y="-2794360"/>
            <a:ext cx="4904532" cy="5143500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6457990" y="-3581261"/>
            <a:ext cx="4899509" cy="5143500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5414" y="4540931"/>
            <a:ext cx="457240" cy="452667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23528" y="4636975"/>
            <a:ext cx="502964" cy="260627"/>
          </a:xfrm>
          <a:prstGeom prst="rect">
            <a:avLst/>
          </a:prstGeom>
        </p:spPr>
      </p:pic>
      <p:sp>
        <p:nvSpPr>
          <p:cNvPr id="3" name="Espace réservé du texte 2"/>
          <p:cNvSpPr>
            <a:spLocks noGrp="1"/>
          </p:cNvSpPr>
          <p:nvPr>
            <p:ph type="body" sz="quarter" idx="13"/>
          </p:nvPr>
        </p:nvSpPr>
        <p:spPr>
          <a:xfrm>
            <a:off x="4572001" y="1766228"/>
            <a:ext cx="3531476" cy="2466975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1100">
                <a:latin typeface="Avenir LT Std 65 Medium"/>
              </a:defRPr>
            </a:lvl1pPr>
          </a:lstStyle>
          <a:p>
            <a:pPr lvl="0"/>
            <a:r>
              <a:rPr lang="fr-FR"/>
              <a:t>Modifiez les styles du texte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4"/>
          </p:nvPr>
        </p:nvSpPr>
        <p:spPr>
          <a:xfrm>
            <a:off x="772748" y="465577"/>
            <a:ext cx="4540263" cy="819314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2300" b="1" baseline="0">
                <a:solidFill>
                  <a:srgbClr val="76B900"/>
                </a:solidFill>
                <a:latin typeface="Avenir LT Std 65 Medium"/>
              </a:defRPr>
            </a:lvl1pPr>
          </a:lstStyle>
          <a:p>
            <a:pPr lvl="0"/>
            <a:r>
              <a:rPr lang="fr-FR"/>
              <a:t>Modifiez les styles </a:t>
            </a:r>
            <a:r>
              <a:rPr lang="fr-FR" sz="2300" b="1" cap="none">
                <a:solidFill>
                  <a:srgbClr val="76B900"/>
                </a:solidFill>
                <a:ea typeface="Avenir Black" charset="0"/>
                <a:cs typeface="Avenir Black" charset="0"/>
              </a:rPr>
              <a:t>du texte </a:t>
            </a:r>
            <a:endParaRPr lang="fr-FR"/>
          </a:p>
        </p:txBody>
      </p:sp>
      <p:sp>
        <p:nvSpPr>
          <p:cNvPr id="13" name="Espace réservé pour une image  12"/>
          <p:cNvSpPr>
            <a:spLocks noGrp="1"/>
          </p:cNvSpPr>
          <p:nvPr>
            <p:ph type="pic" sz="quarter" idx="15"/>
          </p:nvPr>
        </p:nvSpPr>
        <p:spPr>
          <a:xfrm>
            <a:off x="772717" y="1426780"/>
            <a:ext cx="3459824" cy="2806424"/>
          </a:xfrm>
          <a:prstGeom prst="rect">
            <a:avLst/>
          </a:prstGeom>
        </p:spPr>
        <p:txBody>
          <a:bodyPr lIns="68562" tIns="34289" rIns="68562" bIns="34289"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1121700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0"/>
            <a:ext cx="9144002" cy="5143500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5414" y="4540931"/>
            <a:ext cx="457240" cy="452667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23528" y="4636975"/>
            <a:ext cx="502964" cy="260627"/>
          </a:xfrm>
          <a:prstGeom prst="rect">
            <a:avLst/>
          </a:prstGeom>
        </p:spPr>
      </p:pic>
      <p:pic>
        <p:nvPicPr>
          <p:cNvPr id="2" name="Image 1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4634" y="-3761061"/>
            <a:ext cx="5008740" cy="5266020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94781" y="-3230872"/>
            <a:ext cx="4183742" cy="4394073"/>
          </a:xfrm>
          <a:prstGeom prst="rect">
            <a:avLst/>
          </a:prstGeom>
        </p:spPr>
      </p:pic>
      <p:sp>
        <p:nvSpPr>
          <p:cNvPr id="5" name="Espace réservé du texte 4"/>
          <p:cNvSpPr>
            <a:spLocks noGrp="1"/>
          </p:cNvSpPr>
          <p:nvPr>
            <p:ph type="body" sz="quarter" idx="15"/>
          </p:nvPr>
        </p:nvSpPr>
        <p:spPr>
          <a:xfrm>
            <a:off x="796366" y="489223"/>
            <a:ext cx="4516616" cy="838574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2300" b="1">
                <a:solidFill>
                  <a:srgbClr val="76B900"/>
                </a:solidFill>
                <a:latin typeface="Avenir LT Std 65 Medium"/>
              </a:defRPr>
            </a:lvl1pPr>
          </a:lstStyle>
          <a:p>
            <a:pPr lvl="0"/>
            <a:r>
              <a:rPr lang="fr-FR"/>
              <a:t>Modifiez les styles </a:t>
            </a:r>
            <a:r>
              <a:rPr lang="fr-FR" sz="2300" b="1" cap="none">
                <a:solidFill>
                  <a:srgbClr val="76B900"/>
                </a:solidFill>
                <a:ea typeface="Avenir Black" charset="0"/>
                <a:cs typeface="Avenir Black" charset="0"/>
              </a:rPr>
              <a:t>du texte </a:t>
            </a:r>
            <a:endParaRPr lang="fr-FR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6"/>
          </p:nvPr>
        </p:nvSpPr>
        <p:spPr>
          <a:xfrm>
            <a:off x="796366" y="3397331"/>
            <a:ext cx="2490746" cy="922735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1100">
                <a:latin typeface="Avenir Light"/>
              </a:defRPr>
            </a:lvl1pPr>
          </a:lstStyle>
          <a:p>
            <a:pPr lvl="0"/>
            <a:r>
              <a:rPr lang="fr-FR"/>
              <a:t>Modifiez les styles du texte</a:t>
            </a:r>
          </a:p>
        </p:txBody>
      </p:sp>
      <p:sp>
        <p:nvSpPr>
          <p:cNvPr id="16" name="Espace réservé du texte 8"/>
          <p:cNvSpPr>
            <a:spLocks noGrp="1"/>
          </p:cNvSpPr>
          <p:nvPr>
            <p:ph type="body" sz="quarter" idx="17"/>
          </p:nvPr>
        </p:nvSpPr>
        <p:spPr>
          <a:xfrm>
            <a:off x="3559273" y="3397331"/>
            <a:ext cx="2490746" cy="922735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1100">
                <a:latin typeface="Avenir Light"/>
              </a:defRPr>
            </a:lvl1pPr>
          </a:lstStyle>
          <a:p>
            <a:pPr lvl="0"/>
            <a:r>
              <a:rPr lang="fr-FR"/>
              <a:t>Modifiez les styles du texte</a:t>
            </a:r>
          </a:p>
        </p:txBody>
      </p:sp>
      <p:sp>
        <p:nvSpPr>
          <p:cNvPr id="17" name="Espace réservé du texte 8"/>
          <p:cNvSpPr>
            <a:spLocks noGrp="1"/>
          </p:cNvSpPr>
          <p:nvPr>
            <p:ph type="body" sz="quarter" idx="18"/>
          </p:nvPr>
        </p:nvSpPr>
        <p:spPr>
          <a:xfrm>
            <a:off x="6309592" y="3397331"/>
            <a:ext cx="2490746" cy="922735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1100">
                <a:latin typeface="Avenir Light"/>
              </a:defRPr>
            </a:lvl1pPr>
          </a:lstStyle>
          <a:p>
            <a:pPr lvl="0"/>
            <a:r>
              <a:rPr lang="fr-FR"/>
              <a:t>Modifiez les styles du texte</a:t>
            </a:r>
          </a:p>
        </p:txBody>
      </p:sp>
      <p:sp>
        <p:nvSpPr>
          <p:cNvPr id="19" name="Espace réservé pour une image  18"/>
          <p:cNvSpPr>
            <a:spLocks noGrp="1"/>
          </p:cNvSpPr>
          <p:nvPr>
            <p:ph type="pic" sz="quarter" idx="19"/>
          </p:nvPr>
        </p:nvSpPr>
        <p:spPr>
          <a:xfrm>
            <a:off x="796529" y="1817020"/>
            <a:ext cx="2490582" cy="1320320"/>
          </a:xfrm>
          <a:prstGeom prst="rect">
            <a:avLst/>
          </a:prstGeom>
        </p:spPr>
        <p:txBody>
          <a:bodyPr lIns="68562" tIns="34289" rIns="68562" bIns="34289"/>
          <a:lstStyle/>
          <a:p>
            <a:endParaRPr lang="fr-FR"/>
          </a:p>
        </p:txBody>
      </p:sp>
      <p:sp>
        <p:nvSpPr>
          <p:cNvPr id="20" name="Espace réservé pour une image  18"/>
          <p:cNvSpPr>
            <a:spLocks noGrp="1"/>
          </p:cNvSpPr>
          <p:nvPr>
            <p:ph type="pic" sz="quarter" idx="20"/>
          </p:nvPr>
        </p:nvSpPr>
        <p:spPr>
          <a:xfrm>
            <a:off x="3559271" y="1817020"/>
            <a:ext cx="2490582" cy="1320320"/>
          </a:xfrm>
          <a:prstGeom prst="rect">
            <a:avLst/>
          </a:prstGeom>
        </p:spPr>
        <p:txBody>
          <a:bodyPr lIns="68562" tIns="34289" rIns="68562" bIns="34289"/>
          <a:lstStyle/>
          <a:p>
            <a:endParaRPr lang="fr-FR"/>
          </a:p>
        </p:txBody>
      </p:sp>
      <p:sp>
        <p:nvSpPr>
          <p:cNvPr id="21" name="Espace réservé pour une image  18"/>
          <p:cNvSpPr>
            <a:spLocks noGrp="1"/>
          </p:cNvSpPr>
          <p:nvPr>
            <p:ph type="pic" sz="quarter" idx="21"/>
          </p:nvPr>
        </p:nvSpPr>
        <p:spPr>
          <a:xfrm>
            <a:off x="6322014" y="1817020"/>
            <a:ext cx="2490582" cy="1320320"/>
          </a:xfrm>
          <a:prstGeom prst="rect">
            <a:avLst/>
          </a:prstGeom>
        </p:spPr>
        <p:txBody>
          <a:bodyPr lIns="68562" tIns="34289" rIns="68562" bIns="34289"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740463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3"/>
          </a:xfrm>
          <a:prstGeom prst="rect">
            <a:avLst/>
          </a:prstGeom>
        </p:spPr>
        <p:txBody>
          <a:bodyPr/>
          <a:lstStyle/>
          <a:p>
            <a:fld id="{D91DC166-3F88-4849-A61A-AD75C82AAE0A}" type="datetimeFigureOut">
              <a:rPr lang="fr-FR" smtClean="0"/>
              <a:t>17/01/2022</a:t>
            </a:fld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3"/>
          </a:xfrm>
          <a:prstGeom prst="rect">
            <a:avLst/>
          </a:prstGeom>
        </p:spPr>
        <p:txBody>
          <a:bodyPr/>
          <a:lstStyle/>
          <a:p>
            <a:fld id="{44AC34E9-4D80-9947-9379-C8B62DEAC814}" type="slidenum">
              <a:rPr lang="fr-FR" smtClean="0"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9144002" cy="5143500"/>
          </a:xfrm>
          <a:prstGeom prst="rect">
            <a:avLst/>
          </a:prstGeom>
        </p:spPr>
      </p:pic>
      <p:pic>
        <p:nvPicPr>
          <p:cNvPr id="2" name="Image 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770785" y="2264566"/>
            <a:ext cx="5008740" cy="5266020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23528" y="4636975"/>
            <a:ext cx="502964" cy="260627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948894" y="2943329"/>
            <a:ext cx="4899509" cy="5143500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9651" y="4539452"/>
            <a:ext cx="457240" cy="452667"/>
          </a:xfrm>
          <a:prstGeom prst="rect">
            <a:avLst/>
          </a:prstGeom>
        </p:spPr>
      </p:pic>
      <p:sp>
        <p:nvSpPr>
          <p:cNvPr id="7" name="Espace réservé du texte 6"/>
          <p:cNvSpPr>
            <a:spLocks noGrp="1"/>
          </p:cNvSpPr>
          <p:nvPr>
            <p:ph type="body" sz="quarter" idx="13" hasCustomPrompt="1"/>
          </p:nvPr>
        </p:nvSpPr>
        <p:spPr>
          <a:xfrm>
            <a:off x="4111486" y="763891"/>
            <a:ext cx="4364831" cy="639242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lang="fr-FR" sz="2300" b="1" kern="1200" cap="none" baseline="0" dirty="0" smtClean="0">
                <a:solidFill>
                  <a:srgbClr val="76B900"/>
                </a:solidFill>
                <a:latin typeface="Avenir LT Std 65 Medium"/>
                <a:ea typeface="Avenir Black" charset="0"/>
                <a:cs typeface="Avenir Black" charset="0"/>
              </a:defRPr>
            </a:lvl1pPr>
          </a:lstStyle>
          <a:p>
            <a:pPr lvl="0"/>
            <a:r>
              <a:rPr lang="fr-FR"/>
              <a:t>Modifiez les styles d</a:t>
            </a:r>
            <a:r>
              <a:rPr lang="fr-FR" sz="2300" b="1" cap="none">
                <a:solidFill>
                  <a:srgbClr val="76B900"/>
                </a:solidFill>
                <a:ea typeface="Avenir Black" charset="0"/>
                <a:cs typeface="Avenir Black" charset="0"/>
              </a:rPr>
              <a:t>u titre</a:t>
            </a:r>
            <a:endParaRPr lang="fr-FR"/>
          </a:p>
        </p:txBody>
      </p:sp>
      <p:sp>
        <p:nvSpPr>
          <p:cNvPr id="19" name="Espace réservé du texte 14"/>
          <p:cNvSpPr>
            <a:spLocks noGrp="1"/>
          </p:cNvSpPr>
          <p:nvPr>
            <p:ph type="body" sz="quarter" idx="16" hasCustomPrompt="1"/>
          </p:nvPr>
        </p:nvSpPr>
        <p:spPr>
          <a:xfrm>
            <a:off x="4111463" y="1614487"/>
            <a:ext cx="1910971" cy="464995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1200" b="1">
                <a:latin typeface="Avenir LT Std 65 Medium"/>
              </a:defRPr>
            </a:lvl1pPr>
          </a:lstStyle>
          <a:p>
            <a:pPr lvl="0"/>
            <a:r>
              <a:rPr lang="fr-FR"/>
              <a:t>Modifiez les styles du titre</a:t>
            </a:r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9"/>
          </p:nvPr>
        </p:nvSpPr>
        <p:spPr>
          <a:xfrm>
            <a:off x="4110736" y="2124877"/>
            <a:ext cx="1911692" cy="722921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900">
                <a:latin typeface="Avenir Light"/>
              </a:defRPr>
            </a:lvl1pPr>
          </a:lstStyle>
          <a:p>
            <a:pPr lvl="0"/>
            <a:r>
              <a:rPr lang="fr-FR"/>
              <a:t>Modifiez les styles du texte</a:t>
            </a:r>
          </a:p>
        </p:txBody>
      </p:sp>
      <p:sp>
        <p:nvSpPr>
          <p:cNvPr id="28" name="Espace réservé du texte 14"/>
          <p:cNvSpPr>
            <a:spLocks noGrp="1"/>
          </p:cNvSpPr>
          <p:nvPr>
            <p:ph type="body" sz="quarter" idx="20" hasCustomPrompt="1"/>
          </p:nvPr>
        </p:nvSpPr>
        <p:spPr>
          <a:xfrm>
            <a:off x="4111463" y="3129035"/>
            <a:ext cx="1910971" cy="464995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1200" b="1">
                <a:latin typeface="Avenir LT Std 65 Medium"/>
              </a:defRPr>
            </a:lvl1pPr>
          </a:lstStyle>
          <a:p>
            <a:pPr lvl="0"/>
            <a:r>
              <a:rPr lang="fr-FR"/>
              <a:t>Modifiez les styles du titre</a:t>
            </a:r>
          </a:p>
        </p:txBody>
      </p:sp>
      <p:sp>
        <p:nvSpPr>
          <p:cNvPr id="29" name="Espace réservé du texte 22"/>
          <p:cNvSpPr>
            <a:spLocks noGrp="1"/>
          </p:cNvSpPr>
          <p:nvPr>
            <p:ph type="body" sz="quarter" idx="21"/>
          </p:nvPr>
        </p:nvSpPr>
        <p:spPr>
          <a:xfrm>
            <a:off x="4110736" y="3639426"/>
            <a:ext cx="1911692" cy="722921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900">
                <a:latin typeface="Avenir Light"/>
              </a:defRPr>
            </a:lvl1pPr>
          </a:lstStyle>
          <a:p>
            <a:pPr lvl="0"/>
            <a:r>
              <a:rPr lang="fr-FR"/>
              <a:t>Modifiez les styles du texte</a:t>
            </a:r>
          </a:p>
        </p:txBody>
      </p:sp>
      <p:sp>
        <p:nvSpPr>
          <p:cNvPr id="30" name="Espace réservé du texte 14"/>
          <p:cNvSpPr>
            <a:spLocks noGrp="1"/>
          </p:cNvSpPr>
          <p:nvPr>
            <p:ph type="body" sz="quarter" idx="22" hasCustomPrompt="1"/>
          </p:nvPr>
        </p:nvSpPr>
        <p:spPr>
          <a:xfrm>
            <a:off x="6565333" y="1614487"/>
            <a:ext cx="1910971" cy="464995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1200" b="1">
                <a:latin typeface="Avenir LT Std 65 Medium"/>
              </a:defRPr>
            </a:lvl1pPr>
          </a:lstStyle>
          <a:p>
            <a:pPr lvl="0"/>
            <a:r>
              <a:rPr lang="fr-FR"/>
              <a:t>Modifiez les styles du titre</a:t>
            </a:r>
          </a:p>
        </p:txBody>
      </p:sp>
      <p:sp>
        <p:nvSpPr>
          <p:cNvPr id="31" name="Espace réservé du texte 22"/>
          <p:cNvSpPr>
            <a:spLocks noGrp="1"/>
          </p:cNvSpPr>
          <p:nvPr>
            <p:ph type="body" sz="quarter" idx="23"/>
          </p:nvPr>
        </p:nvSpPr>
        <p:spPr>
          <a:xfrm>
            <a:off x="6564598" y="2124877"/>
            <a:ext cx="1911692" cy="722921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900">
                <a:latin typeface="Avenir Light"/>
              </a:defRPr>
            </a:lvl1pPr>
          </a:lstStyle>
          <a:p>
            <a:pPr lvl="0"/>
            <a:r>
              <a:rPr lang="fr-FR"/>
              <a:t>Modifiez les styles du texte</a:t>
            </a:r>
          </a:p>
        </p:txBody>
      </p:sp>
      <p:sp>
        <p:nvSpPr>
          <p:cNvPr id="32" name="Espace réservé du texte 14"/>
          <p:cNvSpPr>
            <a:spLocks noGrp="1"/>
          </p:cNvSpPr>
          <p:nvPr>
            <p:ph type="body" sz="quarter" idx="24" hasCustomPrompt="1"/>
          </p:nvPr>
        </p:nvSpPr>
        <p:spPr>
          <a:xfrm>
            <a:off x="6564618" y="3125731"/>
            <a:ext cx="1910971" cy="464995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1200" b="1">
                <a:latin typeface="Avenir LT Std 65 Medium"/>
              </a:defRPr>
            </a:lvl1pPr>
          </a:lstStyle>
          <a:p>
            <a:pPr lvl="0"/>
            <a:r>
              <a:rPr lang="fr-FR"/>
              <a:t>Modifiez les styles du titre</a:t>
            </a:r>
          </a:p>
        </p:txBody>
      </p:sp>
      <p:sp>
        <p:nvSpPr>
          <p:cNvPr id="33" name="Espace réservé du texte 22"/>
          <p:cNvSpPr>
            <a:spLocks noGrp="1"/>
          </p:cNvSpPr>
          <p:nvPr>
            <p:ph type="body" sz="quarter" idx="25"/>
          </p:nvPr>
        </p:nvSpPr>
        <p:spPr>
          <a:xfrm>
            <a:off x="6563875" y="3636121"/>
            <a:ext cx="1911692" cy="722921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900">
                <a:latin typeface="Avenir Light"/>
              </a:defRPr>
            </a:lvl1pPr>
          </a:lstStyle>
          <a:p>
            <a:pPr lvl="0"/>
            <a:r>
              <a:rPr lang="fr-FR"/>
              <a:t>Modifiez les styles du texte</a:t>
            </a:r>
          </a:p>
        </p:txBody>
      </p:sp>
      <p:sp>
        <p:nvSpPr>
          <p:cNvPr id="6" name="Espace réservé pour une image  5"/>
          <p:cNvSpPr>
            <a:spLocks noGrp="1"/>
          </p:cNvSpPr>
          <p:nvPr>
            <p:ph type="pic" sz="quarter" idx="26"/>
          </p:nvPr>
        </p:nvSpPr>
        <p:spPr>
          <a:xfrm>
            <a:off x="699861" y="1260294"/>
            <a:ext cx="2610898" cy="2263300"/>
          </a:xfrm>
          <a:prstGeom prst="rect">
            <a:avLst/>
          </a:prstGeom>
        </p:spPr>
        <p:txBody>
          <a:bodyPr lIns="68562" tIns="34289" rIns="68562" bIns="34289"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3265759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4456999" y="0"/>
            <a:ext cx="4714265" cy="51435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2" tIns="34289" rIns="68562" bIns="34289" rtlCol="0" anchor="ctr"/>
          <a:lstStyle/>
          <a:p>
            <a:pPr algn="ctr" defTabSz="685596"/>
            <a:endParaRPr lang="fr-FR" sz="1400">
              <a:solidFill>
                <a:prstClr val="white"/>
              </a:solidFill>
            </a:endParaRPr>
          </a:p>
        </p:txBody>
      </p:sp>
      <p:pic>
        <p:nvPicPr>
          <p:cNvPr id="2" name="Imag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78521" y="3221633"/>
            <a:ext cx="4904532" cy="5143500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4516093" cy="5143500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5414" y="4540931"/>
            <a:ext cx="457240" cy="452667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3716" y="3068283"/>
            <a:ext cx="3951766" cy="4150434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23528" y="4636975"/>
            <a:ext cx="502964" cy="260627"/>
          </a:xfrm>
          <a:prstGeom prst="rect">
            <a:avLst/>
          </a:prstGeom>
        </p:spPr>
      </p:pic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>
          <a:xfrm>
            <a:off x="472120" y="383215"/>
            <a:ext cx="3984854" cy="805322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2100" b="1">
                <a:latin typeface="Avenir LT Std 65 Medium"/>
              </a:defRPr>
            </a:lvl1pPr>
          </a:lstStyle>
          <a:p>
            <a:pPr lvl="0"/>
            <a:r>
              <a:rPr lang="fr-FR"/>
              <a:t>Modifiez les styles du text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/>
          </p:nvPr>
        </p:nvSpPr>
        <p:spPr>
          <a:xfrm>
            <a:off x="472020" y="1261214"/>
            <a:ext cx="3984952" cy="842421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900">
                <a:latin typeface="Avenir LT Std 65 Medium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pour une image  14"/>
          <p:cNvSpPr>
            <a:spLocks noGrp="1"/>
          </p:cNvSpPr>
          <p:nvPr>
            <p:ph type="pic" sz="quarter" idx="15"/>
          </p:nvPr>
        </p:nvSpPr>
        <p:spPr>
          <a:xfrm>
            <a:off x="622654" y="2334828"/>
            <a:ext cx="3328424" cy="2056223"/>
          </a:xfrm>
          <a:prstGeom prst="rect">
            <a:avLst/>
          </a:prstGeom>
        </p:spPr>
        <p:txBody>
          <a:bodyPr lIns="68562" tIns="34289" rIns="68562" bIns="34289"/>
          <a:lstStyle/>
          <a:p>
            <a:endParaRPr lang="fr-FR"/>
          </a:p>
        </p:txBody>
      </p:sp>
      <p:sp>
        <p:nvSpPr>
          <p:cNvPr id="22" name="Espace réservé du texte 21"/>
          <p:cNvSpPr>
            <a:spLocks noGrp="1"/>
          </p:cNvSpPr>
          <p:nvPr>
            <p:ph type="body" sz="quarter" idx="18"/>
          </p:nvPr>
        </p:nvSpPr>
        <p:spPr>
          <a:xfrm>
            <a:off x="5925751" y="3806455"/>
            <a:ext cx="2588967" cy="734615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900">
                <a:solidFill>
                  <a:schemeClr val="bg1"/>
                </a:solidFill>
                <a:latin typeface="Avenir LT Std 65 Medium"/>
              </a:defRPr>
            </a:lvl1pPr>
          </a:lstStyle>
          <a:p>
            <a:pPr lvl="0"/>
            <a:r>
              <a:rPr lang="fr-FR"/>
              <a:t>Modifiez les styles du texte </a:t>
            </a:r>
          </a:p>
        </p:txBody>
      </p:sp>
      <p:sp>
        <p:nvSpPr>
          <p:cNvPr id="25" name="Espace réservé du texte 4"/>
          <p:cNvSpPr>
            <a:spLocks noGrp="1"/>
          </p:cNvSpPr>
          <p:nvPr>
            <p:ph type="body" sz="quarter" idx="19"/>
          </p:nvPr>
        </p:nvSpPr>
        <p:spPr>
          <a:xfrm>
            <a:off x="5021987" y="383215"/>
            <a:ext cx="3750126" cy="805322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2100" b="1">
                <a:latin typeface="Avenir LT Std 65 Medium"/>
              </a:defRPr>
            </a:lvl1pPr>
          </a:lstStyle>
          <a:p>
            <a:pPr lvl="0"/>
            <a:r>
              <a:rPr lang="fr-FR"/>
              <a:t>Modifiez les styles du texte</a:t>
            </a:r>
          </a:p>
        </p:txBody>
      </p:sp>
      <p:sp>
        <p:nvSpPr>
          <p:cNvPr id="26" name="Espace réservé du texte 7"/>
          <p:cNvSpPr>
            <a:spLocks noGrp="1"/>
          </p:cNvSpPr>
          <p:nvPr>
            <p:ph type="body" sz="quarter" idx="20"/>
          </p:nvPr>
        </p:nvSpPr>
        <p:spPr>
          <a:xfrm>
            <a:off x="5021890" y="1261238"/>
            <a:ext cx="3750224" cy="1563847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900">
                <a:latin typeface="Avenir LT Std 65 Medium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23030632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8"/>
            <a:ext cx="9144000" cy="5143499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5414" y="4540931"/>
            <a:ext cx="457240" cy="452667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23528" y="4636975"/>
            <a:ext cx="502964" cy="260627"/>
          </a:xfrm>
          <a:prstGeom prst="rect">
            <a:avLst/>
          </a:prstGeom>
        </p:spPr>
      </p:pic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>
          <a:xfrm>
            <a:off x="472124" y="383216"/>
            <a:ext cx="3912379" cy="972975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3600" b="0">
                <a:solidFill>
                  <a:schemeClr val="bg1"/>
                </a:solidFill>
                <a:latin typeface="Avenir LT Std 65 Medium"/>
              </a:defRPr>
            </a:lvl1pPr>
          </a:lstStyle>
          <a:p>
            <a:pPr lvl="0"/>
            <a:r>
              <a:rPr lang="fr-FR"/>
              <a:t>Modifiez les styles du texte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4"/>
          </p:nvPr>
        </p:nvSpPr>
        <p:spPr>
          <a:xfrm>
            <a:off x="4960348" y="365737"/>
            <a:ext cx="3866144" cy="990453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3600" b="0">
                <a:solidFill>
                  <a:srgbClr val="76B900"/>
                </a:solidFill>
                <a:latin typeface="Avenir LT Std 65 Medium"/>
              </a:defRPr>
            </a:lvl1pPr>
          </a:lstStyle>
          <a:p>
            <a:pPr lvl="0"/>
            <a:r>
              <a:rPr lang="fr-FR"/>
              <a:t>Modifiez les styles du texte</a:t>
            </a:r>
          </a:p>
        </p:txBody>
      </p:sp>
      <p:sp>
        <p:nvSpPr>
          <p:cNvPr id="7" name="Espace réservé du texte 7"/>
          <p:cNvSpPr>
            <a:spLocks noGrp="1"/>
          </p:cNvSpPr>
          <p:nvPr>
            <p:ph type="body" sz="quarter" idx="20"/>
          </p:nvPr>
        </p:nvSpPr>
        <p:spPr>
          <a:xfrm>
            <a:off x="4960348" y="1615671"/>
            <a:ext cx="3750224" cy="2925258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1100">
                <a:solidFill>
                  <a:schemeClr val="bg1"/>
                </a:solidFill>
                <a:latin typeface="Avenir LT Std 65 Medium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21"/>
          </p:nvPr>
        </p:nvSpPr>
        <p:spPr>
          <a:xfrm>
            <a:off x="472120" y="1611564"/>
            <a:ext cx="3750224" cy="2929391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1100">
                <a:solidFill>
                  <a:schemeClr val="bg1"/>
                </a:solidFill>
                <a:latin typeface="Avenir LT Std 65 Medium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95847995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uverture_sans_visu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39750" y="540000"/>
            <a:ext cx="8064500" cy="2160000"/>
          </a:xfrm>
        </p:spPr>
        <p:txBody>
          <a:bodyPr/>
          <a:lstStyle>
            <a:lvl1pPr>
              <a:defRPr b="0" i="0" cap="none">
                <a:solidFill>
                  <a:schemeClr val="bg1"/>
                </a:solidFill>
                <a:latin typeface="Avenir LT Std 65 Medium" panose="020B0603020203020204" pitchFamily="34" charset="0"/>
                <a:cs typeface="Avenir LT Std 65 Medium" panose="020B0603020203020204" pitchFamily="34" charset="0"/>
              </a:defRPr>
            </a:lvl1pPr>
            <a:lvl2pPr>
              <a:defRPr b="0" i="0" cap="none">
                <a:solidFill>
                  <a:schemeClr val="bg1"/>
                </a:solidFill>
                <a:latin typeface="Avenir LT Std 65 Medium" panose="020B0603020203020204" pitchFamily="34" charset="0"/>
                <a:cs typeface="Avenir LT Std 65 Medium" panose="020B0603020203020204" pitchFamily="34" charset="0"/>
              </a:defRPr>
            </a:lvl2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prstClr val="white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7" name="Espace réservé de la date 11">
            <a:extLst>
              <a:ext uri="{FF2B5EF4-FFF2-40B4-BE49-F238E27FC236}">
                <a16:creationId xmlns:a16="http://schemas.microsoft.com/office/drawing/2014/main" id="{295F553D-79DC-4492-8AC7-EB7D29AE3C52}"/>
              </a:ext>
            </a:extLst>
          </p:cNvPr>
          <p:cNvSpPr>
            <a:spLocks noGrp="1"/>
          </p:cNvSpPr>
          <p:nvPr>
            <p:ph type="dt" sz="half" idx="19"/>
          </p:nvPr>
        </p:nvSpPr>
        <p:spPr bwMode="gray">
          <a:xfrm>
            <a:off x="1361440" y="4813200"/>
            <a:ext cx="6847522" cy="195680"/>
          </a:xfrm>
          <a:prstGeom prst="rect">
            <a:avLst/>
          </a:prstGeom>
        </p:spPr>
        <p:txBody>
          <a:bodyPr/>
          <a:lstStyle/>
          <a:p>
            <a:fld id="{16F24D38-47AA-4D10-A3F9-B7DF2AB6835D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717798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_2_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1" y="1743074"/>
            <a:ext cx="3960000" cy="2736851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27A1721-79E2-4732-85AD-5E2DB701A38A}" type="datetime1">
              <a:rPr lang="fr-FR" smtClean="0">
                <a:solidFill>
                  <a:srgbClr val="3C3732"/>
                </a:solidFill>
              </a:rPr>
              <a:pPr/>
              <a:t>17/01/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prstClr val="white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179388" y="4659313"/>
            <a:ext cx="8029575" cy="162018"/>
          </a:xfrm>
          <a:prstGeom prst="rect">
            <a:avLst/>
          </a:prstGeom>
        </p:spPr>
        <p:txBody>
          <a:bodyPr/>
          <a:lstStyle/>
          <a:p>
            <a:pPr defTabSz="914130"/>
            <a:r>
              <a:rPr lang="fr-FR" sz="1800">
                <a:solidFill>
                  <a:srgbClr val="3C3732"/>
                </a:solidFill>
              </a:rPr>
              <a:t>Fab Big Data</a:t>
            </a: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950913"/>
            <a:ext cx="8064500" cy="4320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2" name="Espace réservé du contenu 2"/>
          <p:cNvSpPr>
            <a:spLocks noGrp="1"/>
          </p:cNvSpPr>
          <p:nvPr>
            <p:ph idx="19" hasCustomPrompt="1"/>
          </p:nvPr>
        </p:nvSpPr>
        <p:spPr bwMode="gray">
          <a:xfrm>
            <a:off x="5718139" y="1753706"/>
            <a:ext cx="3960000" cy="1276573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</p:spTree>
    <p:extLst>
      <p:ext uri="{BB962C8B-B14F-4D97-AF65-F5344CB8AC3E}">
        <p14:creationId xmlns:p14="http://schemas.microsoft.com/office/powerpoint/2010/main" val="142517614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ommaire_typ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539751" y="486000"/>
            <a:ext cx="8064499" cy="464913"/>
          </a:xfrm>
        </p:spPr>
        <p:txBody>
          <a:bodyPr/>
          <a:lstStyle>
            <a:lvl1pPr>
              <a:defRPr b="0"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C3533BB-873D-41B8-8FB5-01D55DF5139C}" type="datetime1">
              <a:rPr lang="fr-FR" smtClean="0">
                <a:solidFill>
                  <a:srgbClr val="3C3732"/>
                </a:solidFill>
              </a:rPr>
              <a:pPr/>
              <a:t>17/01/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prstClr val="white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 bwMode="gray">
          <a:xfrm>
            <a:off x="179388" y="4659313"/>
            <a:ext cx="8029575" cy="162018"/>
          </a:xfrm>
          <a:prstGeom prst="rect">
            <a:avLst/>
          </a:prstGeom>
        </p:spPr>
        <p:txBody>
          <a:bodyPr/>
          <a:lstStyle/>
          <a:p>
            <a:pPr defTabSz="914130"/>
            <a:r>
              <a:rPr lang="fr-FR" sz="1800">
                <a:solidFill>
                  <a:srgbClr val="3C3732"/>
                </a:solidFill>
              </a:rPr>
              <a:t>Fab Big Data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3"/>
          </p:nvPr>
        </p:nvSpPr>
        <p:spPr bwMode="gray">
          <a:xfrm>
            <a:off x="539751" y="1276350"/>
            <a:ext cx="8064499" cy="3203575"/>
          </a:xfrm>
        </p:spPr>
        <p:txBody>
          <a:bodyPr/>
          <a:lstStyle>
            <a:lvl1pPr>
              <a:spcBef>
                <a:spcPts val="1400"/>
              </a:spcBef>
              <a:spcAft>
                <a:spcPts val="500"/>
              </a:spcAft>
              <a:defRPr sz="1500" b="0" cap="all" baseline="0">
                <a:latin typeface="Avenir LT Std 65 Medium" pitchFamily="34" charset="0"/>
              </a:defRPr>
            </a:lvl1pPr>
            <a:lvl2pPr>
              <a:lnSpc>
                <a:spcPct val="90000"/>
              </a:lnSpc>
              <a:spcAft>
                <a:spcPts val="0"/>
              </a:spcAft>
              <a:defRPr sz="1500" cap="all" baseline="0">
                <a:latin typeface="Avenir LT Std 55 Roman" pitchFamily="34" charset="0"/>
              </a:defRPr>
            </a:lvl2pPr>
            <a:lvl3pPr marL="0" indent="0">
              <a:lnSpc>
                <a:spcPct val="90000"/>
              </a:lnSpc>
              <a:spcAft>
                <a:spcPts val="0"/>
              </a:spcAft>
              <a:buNone/>
              <a:defRPr sz="1500" cap="all" baseline="0"/>
            </a:lvl3pPr>
            <a:lvl4pPr marL="0" indent="0">
              <a:lnSpc>
                <a:spcPct val="90000"/>
              </a:lnSpc>
              <a:spcAft>
                <a:spcPts val="0"/>
              </a:spcAft>
              <a:buNone/>
              <a:defRPr sz="1500" cap="all" baseline="0"/>
            </a:lvl4pPr>
            <a:lvl5pPr marL="0" indent="0">
              <a:lnSpc>
                <a:spcPct val="90000"/>
              </a:lnSpc>
              <a:spcAft>
                <a:spcPts val="0"/>
              </a:spcAft>
              <a:defRPr sz="1500" cap="all" baseline="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4" name="Espace réservé du contenu 2"/>
          <p:cNvSpPr>
            <a:spLocks noGrp="1"/>
          </p:cNvSpPr>
          <p:nvPr>
            <p:ph idx="19" hasCustomPrompt="1"/>
          </p:nvPr>
        </p:nvSpPr>
        <p:spPr bwMode="gray">
          <a:xfrm>
            <a:off x="4708046" y="1626115"/>
            <a:ext cx="3936224" cy="1276573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</p:spTree>
    <p:extLst>
      <p:ext uri="{BB962C8B-B14F-4D97-AF65-F5344CB8AC3E}">
        <p14:creationId xmlns:p14="http://schemas.microsoft.com/office/powerpoint/2010/main" val="31460831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_typ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539766" y="486002"/>
            <a:ext cx="8064499" cy="464913"/>
          </a:xfrm>
        </p:spPr>
        <p:txBody>
          <a:bodyPr/>
          <a:lstStyle>
            <a:lvl1pPr>
              <a:defRPr b="0" i="0" cap="none">
                <a:latin typeface="Avenir LT Std 95 Black"/>
                <a:cs typeface="Avenir LT Std 95 Black"/>
              </a:defRPr>
            </a:lvl1pPr>
          </a:lstStyle>
          <a:p>
            <a:r>
              <a:rPr lang="fr-FR" noProof="0" err="1"/>
              <a:t>TitretT</a:t>
            </a:r>
            <a:endParaRPr lang="fr-FR" noProof="0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89" y="4813200"/>
            <a:ext cx="7669213" cy="162000"/>
          </a:xfrm>
          <a:prstGeom prst="rect">
            <a:avLst/>
          </a:prstGeom>
        </p:spPr>
        <p:txBody>
          <a:bodyPr/>
          <a:lstStyle/>
          <a:p>
            <a:fld id="{840A86BF-A67C-4EBF-87D6-C5E1200ADBCF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prstClr val="white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39765" y="1267907"/>
            <a:ext cx="3602589" cy="230832"/>
          </a:xfrm>
          <a:prstGeom prst="rect">
            <a:avLst/>
          </a:prstGeom>
          <a:solidFill>
            <a:srgbClr val="71B304"/>
          </a:solidFill>
        </p:spPr>
        <p:txBody>
          <a:bodyPr wrap="none" anchor="t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tabLst>
                <a:tab pos="355492" algn="l"/>
              </a:tabLst>
              <a:defRPr sz="1500" b="0" i="0" cap="none" baseline="0">
                <a:solidFill>
                  <a:schemeClr val="bg1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01.	Titre partie (tabulation après le chiffre)</a:t>
            </a:r>
          </a:p>
        </p:txBody>
      </p:sp>
      <p:sp>
        <p:nvSpPr>
          <p:cNvPr id="18" name="Espace réservé du texte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9765" y="2057565"/>
            <a:ext cx="3602589" cy="230832"/>
          </a:xfrm>
          <a:prstGeom prst="rect">
            <a:avLst/>
          </a:prstGeom>
          <a:solidFill>
            <a:srgbClr val="71B304"/>
          </a:solidFill>
        </p:spPr>
        <p:txBody>
          <a:bodyPr wrap="none" anchor="t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tabLst>
                <a:tab pos="355492" algn="l"/>
              </a:tabLst>
              <a:defRPr sz="1500" b="0" i="0" cap="none" baseline="0">
                <a:solidFill>
                  <a:schemeClr val="bg1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01.	Titre partie (tabulation après le chiffre)</a:t>
            </a:r>
          </a:p>
        </p:txBody>
      </p:sp>
      <p:sp>
        <p:nvSpPr>
          <p:cNvPr id="15" name="Espace réservé du texte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39582" y="3651879"/>
            <a:ext cx="3602589" cy="230832"/>
          </a:xfrm>
          <a:prstGeom prst="rect">
            <a:avLst/>
          </a:prstGeom>
          <a:solidFill>
            <a:srgbClr val="71B304"/>
          </a:solidFill>
        </p:spPr>
        <p:txBody>
          <a:bodyPr wrap="none" anchor="t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tabLst>
                <a:tab pos="355492" algn="l"/>
              </a:tabLst>
              <a:defRPr sz="1500" b="0" i="0" cap="none" baseline="0">
                <a:solidFill>
                  <a:schemeClr val="bg1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01.	Titre partie (tabulation après le chiffre)</a:t>
            </a:r>
          </a:p>
        </p:txBody>
      </p:sp>
      <p:sp>
        <p:nvSpPr>
          <p:cNvPr id="16" name="Espace réservé du texte 11"/>
          <p:cNvSpPr>
            <a:spLocks noGrp="1"/>
          </p:cNvSpPr>
          <p:nvPr>
            <p:ph type="body" sz="quarter" idx="22"/>
          </p:nvPr>
        </p:nvSpPr>
        <p:spPr bwMode="gray">
          <a:xfrm>
            <a:off x="899608" y="3111862"/>
            <a:ext cx="7704137" cy="468000"/>
          </a:xfrm>
          <a:prstGeom prst="rect">
            <a:avLst/>
          </a:prstGeom>
        </p:spPr>
        <p:txBody>
          <a:bodyPr/>
          <a:lstStyle>
            <a:lvl1pPr marL="143963" indent="-143963">
              <a:lnSpc>
                <a:spcPct val="90000"/>
              </a:lnSpc>
              <a:spcAft>
                <a:spcPts val="0"/>
              </a:spcAft>
              <a:buFont typeface="Avenir LT Std 45 Book" pitchFamily="34" charset="0"/>
              <a:buChar char="+"/>
              <a:defRPr sz="1500" b="0" i="0" cap="none" baseline="0">
                <a:solidFill>
                  <a:srgbClr val="6C6C6C"/>
                </a:solidFill>
                <a:latin typeface="Avenir LT Std 45 Book"/>
                <a:cs typeface="Avenir LT Std 45 Book"/>
              </a:defRPr>
            </a:lvl1pPr>
            <a:lvl2pPr marL="143963">
              <a:lnSpc>
                <a:spcPct val="90000"/>
              </a:lnSpc>
              <a:spcAft>
                <a:spcPts val="0"/>
              </a:spcAft>
              <a:defRPr sz="1500" b="0" i="0" cap="none">
                <a:solidFill>
                  <a:srgbClr val="6C6C6C"/>
                </a:solidFill>
                <a:latin typeface="Avenir LT Std 45 Book"/>
                <a:cs typeface="Avenir LT Std 45 Book"/>
              </a:defRPr>
            </a:lvl2pPr>
            <a:lvl3pPr indent="0">
              <a:spcAft>
                <a:spcPts val="0"/>
              </a:spcAft>
              <a:buNone/>
              <a:defRPr b="1"/>
            </a:lvl3pPr>
            <a:lvl4pPr marL="143963" indent="0">
              <a:buNone/>
              <a:defRPr sz="1300" b="1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Espace réservé du texte 11"/>
          <p:cNvSpPr>
            <a:spLocks noGrp="1"/>
          </p:cNvSpPr>
          <p:nvPr>
            <p:ph type="body" sz="quarter" idx="24"/>
          </p:nvPr>
        </p:nvSpPr>
        <p:spPr bwMode="gray">
          <a:xfrm>
            <a:off x="899608" y="1571589"/>
            <a:ext cx="7704137" cy="468000"/>
          </a:xfrm>
          <a:prstGeom prst="rect">
            <a:avLst/>
          </a:prstGeom>
        </p:spPr>
        <p:txBody>
          <a:bodyPr/>
          <a:lstStyle>
            <a:lvl1pPr marL="143963" indent="-143963">
              <a:lnSpc>
                <a:spcPct val="90000"/>
              </a:lnSpc>
              <a:spcAft>
                <a:spcPts val="0"/>
              </a:spcAft>
              <a:buFont typeface="Avenir LT Std 45 Book" pitchFamily="34" charset="0"/>
              <a:buChar char="+"/>
              <a:defRPr sz="1500" b="0" i="0" cap="none" baseline="0">
                <a:solidFill>
                  <a:srgbClr val="6C6C6C"/>
                </a:solidFill>
                <a:latin typeface="Avenir LT Std 45 Book"/>
                <a:cs typeface="Avenir LT Std 45 Book"/>
              </a:defRPr>
            </a:lvl1pPr>
            <a:lvl2pPr marL="143963">
              <a:lnSpc>
                <a:spcPct val="90000"/>
              </a:lnSpc>
              <a:spcAft>
                <a:spcPts val="0"/>
              </a:spcAft>
              <a:defRPr sz="1500" b="0" i="0" cap="none">
                <a:solidFill>
                  <a:srgbClr val="6C6C6C"/>
                </a:solidFill>
                <a:latin typeface="Avenir LT Std 45 Book"/>
                <a:cs typeface="Avenir LT Std 45 Book"/>
              </a:defRPr>
            </a:lvl2pPr>
            <a:lvl3pPr indent="0">
              <a:spcAft>
                <a:spcPts val="0"/>
              </a:spcAft>
              <a:buNone/>
              <a:defRPr b="1"/>
            </a:lvl3pPr>
            <a:lvl4pPr marL="143963" indent="0">
              <a:buNone/>
              <a:defRPr sz="1300" b="1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9" name="Espace réservé du texte 11"/>
          <p:cNvSpPr>
            <a:spLocks noGrp="1"/>
          </p:cNvSpPr>
          <p:nvPr>
            <p:ph type="body" sz="quarter" idx="25"/>
          </p:nvPr>
        </p:nvSpPr>
        <p:spPr bwMode="gray">
          <a:xfrm>
            <a:off x="899608" y="2355726"/>
            <a:ext cx="7704137" cy="468000"/>
          </a:xfrm>
          <a:prstGeom prst="rect">
            <a:avLst/>
          </a:prstGeom>
        </p:spPr>
        <p:txBody>
          <a:bodyPr/>
          <a:lstStyle>
            <a:lvl1pPr marL="143963" indent="-143963">
              <a:lnSpc>
                <a:spcPct val="90000"/>
              </a:lnSpc>
              <a:spcAft>
                <a:spcPts val="0"/>
              </a:spcAft>
              <a:buFont typeface="Avenir LT Std 45 Book" pitchFamily="34" charset="0"/>
              <a:buChar char="+"/>
              <a:defRPr sz="1500" b="0" i="0" cap="none" baseline="0">
                <a:solidFill>
                  <a:srgbClr val="6C6C6C"/>
                </a:solidFill>
                <a:latin typeface="Avenir LT Std 45 Book"/>
                <a:cs typeface="Avenir LT Std 45 Book"/>
              </a:defRPr>
            </a:lvl1pPr>
            <a:lvl2pPr marL="143963">
              <a:lnSpc>
                <a:spcPct val="90000"/>
              </a:lnSpc>
              <a:spcAft>
                <a:spcPts val="0"/>
              </a:spcAft>
              <a:defRPr sz="1500" b="0" i="0" cap="none">
                <a:solidFill>
                  <a:srgbClr val="6C6C6C"/>
                </a:solidFill>
                <a:latin typeface="Avenir LT Std 45 Book"/>
                <a:cs typeface="Avenir LT Std 45 Book"/>
              </a:defRPr>
            </a:lvl2pPr>
            <a:lvl3pPr indent="0">
              <a:spcAft>
                <a:spcPts val="0"/>
              </a:spcAft>
              <a:buNone/>
              <a:defRPr b="1"/>
            </a:lvl3pPr>
            <a:lvl4pPr marL="143963" indent="0">
              <a:buNone/>
              <a:defRPr sz="1300" b="1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0" name="Espace réservé du texte 11"/>
          <p:cNvSpPr>
            <a:spLocks noGrp="1"/>
          </p:cNvSpPr>
          <p:nvPr>
            <p:ph type="body" sz="quarter" idx="26"/>
          </p:nvPr>
        </p:nvSpPr>
        <p:spPr bwMode="gray">
          <a:xfrm>
            <a:off x="899608" y="3939902"/>
            <a:ext cx="7704137" cy="468000"/>
          </a:xfrm>
          <a:prstGeom prst="rect">
            <a:avLst/>
          </a:prstGeom>
        </p:spPr>
        <p:txBody>
          <a:bodyPr/>
          <a:lstStyle>
            <a:lvl1pPr marL="143963" indent="-143963">
              <a:lnSpc>
                <a:spcPct val="90000"/>
              </a:lnSpc>
              <a:spcAft>
                <a:spcPts val="0"/>
              </a:spcAft>
              <a:buFont typeface="Avenir LT Std 45 Book" pitchFamily="34" charset="0"/>
              <a:buChar char="+"/>
              <a:defRPr sz="1500" b="0" i="0" cap="none" baseline="0">
                <a:solidFill>
                  <a:srgbClr val="6C6C6C"/>
                </a:solidFill>
                <a:latin typeface="Avenir LT Std 45 Book"/>
                <a:cs typeface="Avenir LT Std 45 Book"/>
              </a:defRPr>
            </a:lvl1pPr>
            <a:lvl2pPr marL="143963">
              <a:lnSpc>
                <a:spcPct val="90000"/>
              </a:lnSpc>
              <a:spcAft>
                <a:spcPts val="0"/>
              </a:spcAft>
              <a:defRPr sz="1500" b="0" i="0" cap="none">
                <a:solidFill>
                  <a:srgbClr val="6C6C6C"/>
                </a:solidFill>
                <a:latin typeface="Avenir LT Std 45 Book"/>
                <a:cs typeface="Avenir LT Std 45 Book"/>
              </a:defRPr>
            </a:lvl2pPr>
            <a:lvl3pPr indent="0">
              <a:spcAft>
                <a:spcPts val="0"/>
              </a:spcAft>
              <a:buNone/>
              <a:defRPr b="1"/>
            </a:lvl3pPr>
            <a:lvl4pPr marL="143963" indent="0">
              <a:buNone/>
              <a:defRPr sz="1300" b="1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7" name="Espace réservé du texte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539765" y="2855679"/>
            <a:ext cx="3602589" cy="230832"/>
          </a:xfrm>
          <a:prstGeom prst="rect">
            <a:avLst/>
          </a:prstGeom>
          <a:solidFill>
            <a:srgbClr val="71B304"/>
          </a:solidFill>
        </p:spPr>
        <p:txBody>
          <a:bodyPr wrap="none" anchor="t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tabLst>
                <a:tab pos="355492" algn="l"/>
              </a:tabLst>
              <a:defRPr sz="1500" b="0" i="0" cap="none" baseline="0">
                <a:solidFill>
                  <a:schemeClr val="bg1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01.	Titre partie (tabulation après le chiffre)</a:t>
            </a:r>
          </a:p>
        </p:txBody>
      </p:sp>
    </p:spTree>
    <p:extLst>
      <p:ext uri="{BB962C8B-B14F-4D97-AF65-F5344CB8AC3E}">
        <p14:creationId xmlns:p14="http://schemas.microsoft.com/office/powerpoint/2010/main" val="293058776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_typ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539766" y="486002"/>
            <a:ext cx="8064499" cy="464913"/>
          </a:xfrm>
        </p:spPr>
        <p:txBody>
          <a:bodyPr/>
          <a:lstStyle>
            <a:lvl1pPr>
              <a:defRPr b="0"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89" y="4813200"/>
            <a:ext cx="7669213" cy="162000"/>
          </a:xfrm>
          <a:prstGeom prst="rect">
            <a:avLst/>
          </a:prstGeom>
        </p:spPr>
        <p:txBody>
          <a:bodyPr/>
          <a:lstStyle/>
          <a:p>
            <a:fld id="{D97A566D-E63D-4CE2-A0CB-4B37021A31EB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prstClr val="white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3"/>
          </p:nvPr>
        </p:nvSpPr>
        <p:spPr bwMode="gray">
          <a:xfrm>
            <a:off x="539766" y="1276376"/>
            <a:ext cx="8064499" cy="3203575"/>
          </a:xfrm>
          <a:prstGeom prst="rect">
            <a:avLst/>
          </a:prstGeom>
        </p:spPr>
        <p:txBody>
          <a:bodyPr/>
          <a:lstStyle>
            <a:lvl1pPr>
              <a:spcBef>
                <a:spcPts val="1400"/>
              </a:spcBef>
              <a:spcAft>
                <a:spcPts val="500"/>
              </a:spcAft>
              <a:defRPr sz="1500" b="0" i="0" cap="none" baseline="0">
                <a:latin typeface="+mj-lt"/>
                <a:cs typeface="Avenir LT Std 95 Black"/>
              </a:defRPr>
            </a:lvl1pPr>
            <a:lvl2pPr>
              <a:lnSpc>
                <a:spcPct val="90000"/>
              </a:lnSpc>
              <a:spcAft>
                <a:spcPts val="0"/>
              </a:spcAft>
              <a:defRPr sz="1500" b="0" i="0" cap="none" baseline="0">
                <a:solidFill>
                  <a:srgbClr val="6C6C6C"/>
                </a:solidFill>
                <a:latin typeface="Avenir LT Std 45 Book"/>
                <a:cs typeface="Avenir LT Std 45 Book"/>
              </a:defRPr>
            </a:lvl2pPr>
            <a:lvl3pPr marL="0" indent="0">
              <a:lnSpc>
                <a:spcPct val="90000"/>
              </a:lnSpc>
              <a:spcAft>
                <a:spcPts val="0"/>
              </a:spcAft>
              <a:buNone/>
              <a:defRPr sz="1500" cap="all" baseline="0"/>
            </a:lvl3pPr>
            <a:lvl4pPr marL="0" indent="0">
              <a:lnSpc>
                <a:spcPct val="90000"/>
              </a:lnSpc>
              <a:spcAft>
                <a:spcPts val="0"/>
              </a:spcAft>
              <a:buNone/>
              <a:defRPr sz="1500" cap="all" baseline="0"/>
            </a:lvl4pPr>
            <a:lvl5pPr marL="0" indent="0">
              <a:lnSpc>
                <a:spcPct val="90000"/>
              </a:lnSpc>
              <a:spcAft>
                <a:spcPts val="0"/>
              </a:spcAft>
              <a:defRPr sz="1500" cap="all" baseline="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34075897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 bwMode="gray">
          <a:xfrm>
            <a:off x="179403" y="179388"/>
            <a:ext cx="8785225" cy="3529012"/>
          </a:xfrm>
          <a:prstGeom prst="rect">
            <a:avLst/>
          </a:prstGeom>
          <a:solidFill>
            <a:srgbClr val="71B30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3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89" y="4813200"/>
            <a:ext cx="7669213" cy="162000"/>
          </a:xfrm>
          <a:prstGeom prst="rect">
            <a:avLst/>
          </a:prstGeom>
        </p:spPr>
        <p:txBody>
          <a:bodyPr/>
          <a:lstStyle/>
          <a:p>
            <a:fld id="{FA62EEA9-C284-4F2D-B453-60EC2FC663F7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prstClr val="white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3"/>
          </p:nvPr>
        </p:nvSpPr>
        <p:spPr bwMode="gray">
          <a:xfrm>
            <a:off x="539752" y="267495"/>
            <a:ext cx="8064500" cy="193160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90000"/>
              </a:lnSpc>
              <a:spcAft>
                <a:spcPts val="0"/>
              </a:spcAft>
              <a:defRPr sz="5000" b="0" kern="1200" cap="none" baseline="0">
                <a:solidFill>
                  <a:schemeClr val="bg1"/>
                </a:solidFill>
                <a:latin typeface="Avenir Black"/>
                <a:cs typeface="Avenir Black"/>
              </a:defRPr>
            </a:lvl1pPr>
            <a:lvl2pPr>
              <a:lnSpc>
                <a:spcPct val="90000"/>
              </a:lnSpc>
              <a:spcAft>
                <a:spcPts val="0"/>
              </a:spcAft>
              <a:defRPr sz="3500" cap="none" baseline="0">
                <a:solidFill>
                  <a:schemeClr val="bg1"/>
                </a:solidFill>
                <a:latin typeface="Avenir Black"/>
                <a:cs typeface="Avenir Black"/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4"/>
          </p:nvPr>
        </p:nvSpPr>
        <p:spPr bwMode="gray">
          <a:xfrm>
            <a:off x="539752" y="2344180"/>
            <a:ext cx="8064500" cy="1350000"/>
          </a:xfrm>
          <a:prstGeom prst="rect">
            <a:avLst/>
          </a:prstGeom>
        </p:spPr>
        <p:txBody>
          <a:bodyPr/>
          <a:lstStyle>
            <a:lvl1pPr marL="179947" indent="-179947">
              <a:lnSpc>
                <a:spcPct val="90000"/>
              </a:lnSpc>
              <a:spcAft>
                <a:spcPts val="0"/>
              </a:spcAft>
              <a:buFont typeface="Arial" pitchFamily="34" charset="0"/>
              <a:buChar char="+"/>
              <a:defRPr sz="1600" b="0" cap="none" baseline="0">
                <a:solidFill>
                  <a:schemeClr val="bg1"/>
                </a:solidFill>
                <a:latin typeface="Avenir Black"/>
                <a:cs typeface="Avenir Black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15105266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us_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gray">
          <a:xfrm>
            <a:off x="179403" y="179388"/>
            <a:ext cx="8785225" cy="3529012"/>
          </a:xfrm>
          <a:prstGeom prst="rect">
            <a:avLst/>
          </a:prstGeom>
          <a:solidFill>
            <a:srgbClr val="D7D7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914130"/>
            <a:endParaRPr lang="fr-FR" sz="1800">
              <a:solidFill>
                <a:prstClr val="white"/>
              </a:solidFill>
            </a:endParaRP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89" y="4813200"/>
            <a:ext cx="7669213" cy="162000"/>
          </a:xfrm>
          <a:prstGeom prst="rect">
            <a:avLst/>
          </a:prstGeom>
        </p:spPr>
        <p:txBody>
          <a:bodyPr/>
          <a:lstStyle/>
          <a:p>
            <a:fld id="{4756815B-7C06-4A46-8BA5-0789414E85AB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prstClr val="white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4"/>
          </p:nvPr>
        </p:nvSpPr>
        <p:spPr bwMode="gray">
          <a:xfrm>
            <a:off x="539752" y="1947070"/>
            <a:ext cx="8064500" cy="1350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3500" b="0" cap="none" baseline="0">
                <a:solidFill>
                  <a:srgbClr val="71B304"/>
                </a:solidFill>
                <a:latin typeface="Avenir Black"/>
                <a:cs typeface="Avenir Black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4" name="Espace réservé du texte 11"/>
          <p:cNvSpPr>
            <a:spLocks noGrp="1"/>
          </p:cNvSpPr>
          <p:nvPr>
            <p:ph type="body" sz="quarter" idx="15"/>
          </p:nvPr>
        </p:nvSpPr>
        <p:spPr bwMode="gray">
          <a:xfrm>
            <a:off x="539752" y="1438622"/>
            <a:ext cx="4411464" cy="230832"/>
          </a:xfrm>
          <a:prstGeom prst="rect">
            <a:avLst/>
          </a:prstGeom>
          <a:solidFill>
            <a:srgbClr val="71B304"/>
          </a:solidFill>
        </p:spPr>
        <p:txBody>
          <a:bodyPr wrap="none" anchor="ctr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500" b="0" kern="1200" cap="none" baseline="0">
                <a:solidFill>
                  <a:schemeClr val="bg1"/>
                </a:solidFill>
                <a:latin typeface="Avenir Black"/>
                <a:cs typeface="Avenir Black"/>
              </a:defRPr>
            </a:lvl1pPr>
            <a:lvl2pPr>
              <a:lnSpc>
                <a:spcPct val="90000"/>
              </a:lnSpc>
              <a:defRPr sz="3500" cap="all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Espace réservé du texte 11"/>
          <p:cNvSpPr>
            <a:spLocks noGrp="1"/>
          </p:cNvSpPr>
          <p:nvPr>
            <p:ph type="body" sz="quarter" idx="16"/>
          </p:nvPr>
        </p:nvSpPr>
        <p:spPr bwMode="gray">
          <a:xfrm>
            <a:off x="539554" y="1692855"/>
            <a:ext cx="4411464" cy="230832"/>
          </a:xfrm>
          <a:prstGeom prst="rect">
            <a:avLst/>
          </a:prstGeom>
          <a:solidFill>
            <a:srgbClr val="71B304"/>
          </a:solidFill>
        </p:spPr>
        <p:txBody>
          <a:bodyPr wrap="none" anchor="ctr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500" b="0" kern="1200" cap="none" baseline="0">
                <a:solidFill>
                  <a:schemeClr val="bg1"/>
                </a:solidFill>
                <a:latin typeface="Avenir Black"/>
                <a:cs typeface="Avenir Black"/>
              </a:defRPr>
            </a:lvl1pPr>
            <a:lvl2pPr>
              <a:lnSpc>
                <a:spcPct val="90000"/>
              </a:lnSpc>
              <a:defRPr sz="3500" cap="all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7061473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1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fr-FR"/>
              <a:t>Cliquez et modifiez le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70"/>
            <a:ext cx="4629150" cy="3655218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3"/>
          </a:xfrm>
          <a:prstGeom prst="rect">
            <a:avLst/>
          </a:prstGeom>
        </p:spPr>
        <p:txBody>
          <a:bodyPr/>
          <a:lstStyle/>
          <a:p>
            <a:fld id="{D91DC166-3F88-4849-A61A-AD75C82AAE0A}" type="datetimeFigureOut">
              <a:rPr lang="fr-FR" smtClean="0"/>
              <a:t>17/01/2022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3"/>
          </a:xfrm>
          <a:prstGeom prst="rect">
            <a:avLst/>
          </a:prstGeom>
        </p:spPr>
        <p:txBody>
          <a:bodyPr/>
          <a:lstStyle/>
          <a:p>
            <a:fld id="{44AC34E9-4D80-9947-9379-C8B62DEAC814}" type="slidenum">
              <a:rPr lang="fr-FR" smtClean="0"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croche_visu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texte 14"/>
          <p:cNvSpPr>
            <a:spLocks noGrp="1"/>
          </p:cNvSpPr>
          <p:nvPr>
            <p:ph type="body" sz="quarter" idx="19"/>
          </p:nvPr>
        </p:nvSpPr>
        <p:spPr bwMode="gray">
          <a:xfrm>
            <a:off x="539752" y="633882"/>
            <a:ext cx="8064500" cy="3600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4500" b="0" cap="all" baseline="0">
                <a:latin typeface="+mj-lt"/>
              </a:defRPr>
            </a:lvl1pPr>
            <a:lvl2pPr>
              <a:lnSpc>
                <a:spcPct val="90000"/>
              </a:lnSpc>
              <a:spcBef>
                <a:spcPts val="1500"/>
              </a:spcBef>
              <a:spcAft>
                <a:spcPts val="0"/>
              </a:spcAft>
              <a:defRPr sz="1500" b="0" cap="all" baseline="0">
                <a:solidFill>
                  <a:srgbClr val="747678"/>
                </a:solidFill>
                <a:latin typeface="+mn-lt"/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2" name="Espace réservé pour une image  10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179388" y="179387"/>
            <a:ext cx="8785224" cy="4140000"/>
          </a:xfrm>
          <a:prstGeom prst="rect">
            <a:avLst/>
          </a:prstGeom>
          <a:solidFill>
            <a:srgbClr val="D7D7D7"/>
          </a:solidFill>
        </p:spPr>
        <p:txBody>
          <a:bodyPr lIns="719784" tIns="1259623" rIns="719784" anchor="ctr" anchorCtr="0"/>
          <a:lstStyle>
            <a:lvl1pPr algn="ctr">
              <a:defRPr sz="1300" b="0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fr-FR"/>
              <a:t>Sélectionner l’icône pour insérer une image (format 244 x 115 mm), puis disposer l’image en arrière plan (Sélectionner l’image avec le bouton droit de la souris / Mettre à l’arrière plan). Lorsque l’image est en arrière plan, le titre apparaît.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89" y="4813200"/>
            <a:ext cx="7669213" cy="162000"/>
          </a:xfrm>
          <a:prstGeom prst="rect">
            <a:avLst/>
          </a:prstGeom>
        </p:spPr>
        <p:txBody>
          <a:bodyPr/>
          <a:lstStyle/>
          <a:p>
            <a:fld id="{965E6EF3-76FB-49E3-8783-AA7ABCC1FB9C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prstClr val="white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10" name="Espace réservé pour une image  10"/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179547" y="771552"/>
            <a:ext cx="8785225" cy="3529012"/>
          </a:xfrm>
          <a:prstGeom prst="rect">
            <a:avLst/>
          </a:prstGeom>
          <a:solidFill>
            <a:srgbClr val="D7D7D7"/>
          </a:solidFill>
        </p:spPr>
        <p:txBody>
          <a:bodyPr lIns="719784" tIns="1259623" rIns="719784" anchor="ctr" anchorCtr="0"/>
          <a:lstStyle>
            <a:lvl1pPr algn="ctr">
              <a:defRPr sz="1300" b="0" i="0" cap="none" baseline="0">
                <a:solidFill>
                  <a:srgbClr val="71B304"/>
                </a:solidFill>
                <a:latin typeface="+mj-lt"/>
                <a:cs typeface="Avenir LT Std 95 Black"/>
              </a:defRPr>
            </a:lvl1pPr>
          </a:lstStyle>
          <a:p>
            <a:r>
              <a:rPr lang="fr-FR"/>
              <a:t>Sélectionner l’icône pour insérer une image (format 244 x 98 mm), puis disposer l’image en arrière plan (sélectionner l’image avec le bouton droit de la souris / mettre à l’arrière plan). Lorsque l’image est en arrière plan, le titre apparaît.</a:t>
            </a:r>
          </a:p>
        </p:txBody>
      </p:sp>
    </p:spTree>
    <p:extLst>
      <p:ext uri="{BB962C8B-B14F-4D97-AF65-F5344CB8AC3E}">
        <p14:creationId xmlns:p14="http://schemas.microsoft.com/office/powerpoint/2010/main" val="260673962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croche_visuel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PPT_Packshot_244x130,5_01.jpg"/>
          <p:cNvPicPr preferRelativeResize="0">
            <a:picLocks/>
          </p:cNvPicPr>
          <p:nvPr userDrawn="1"/>
        </p:nvPicPr>
        <p:blipFill>
          <a:blip r:embed="rId2" cstate="print"/>
          <a:stretch>
            <a:fillRect/>
          </a:stretch>
        </p:blipFill>
        <p:spPr bwMode="gray">
          <a:xfrm>
            <a:off x="179428" y="180334"/>
            <a:ext cx="8782157" cy="4138157"/>
          </a:xfrm>
          <a:prstGeom prst="rect">
            <a:avLst/>
          </a:prstGeom>
        </p:spPr>
      </p:pic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89" y="4813200"/>
            <a:ext cx="7669213" cy="162000"/>
          </a:xfrm>
          <a:prstGeom prst="rect">
            <a:avLst/>
          </a:prstGeom>
        </p:spPr>
        <p:txBody>
          <a:bodyPr/>
          <a:lstStyle/>
          <a:p>
            <a:fld id="{3E61EC06-0937-4402-A8D3-25E5EC68C938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prstClr val="white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9"/>
          </p:nvPr>
        </p:nvSpPr>
        <p:spPr bwMode="gray">
          <a:xfrm>
            <a:off x="539752" y="633883"/>
            <a:ext cx="8064500" cy="3600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4500" b="0" cap="none" baseline="0">
                <a:latin typeface="Avenir Black"/>
                <a:cs typeface="Avenir Black"/>
              </a:defRPr>
            </a:lvl1pPr>
            <a:lvl2pPr>
              <a:lnSpc>
                <a:spcPct val="90000"/>
              </a:lnSpc>
              <a:spcBef>
                <a:spcPts val="1500"/>
              </a:spcBef>
              <a:spcAft>
                <a:spcPts val="0"/>
              </a:spcAft>
              <a:defRPr sz="1500" cap="none" baseline="0">
                <a:solidFill>
                  <a:srgbClr val="6C6C6C"/>
                </a:solidFill>
                <a:latin typeface="Avenir Black"/>
                <a:cs typeface="Avenir Black"/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20260131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croche_visuel_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PPT_Packshot_244x130,5_01.jpg"/>
          <p:cNvPicPr preferRelativeResize="0">
            <a:picLocks/>
          </p:cNvPicPr>
          <p:nvPr userDrawn="1"/>
        </p:nvPicPr>
        <p:blipFill>
          <a:blip r:embed="rId2" cstate="print"/>
          <a:stretch>
            <a:fillRect/>
          </a:stretch>
        </p:blipFill>
        <p:spPr bwMode="gray">
          <a:xfrm>
            <a:off x="179388" y="180334"/>
            <a:ext cx="8782156" cy="4138157"/>
          </a:xfrm>
          <a:prstGeom prst="rect">
            <a:avLst/>
          </a:prstGeom>
        </p:spPr>
      </p:pic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89" y="4813200"/>
            <a:ext cx="7669213" cy="162000"/>
          </a:xfrm>
          <a:prstGeom prst="rect">
            <a:avLst/>
          </a:prstGeom>
        </p:spPr>
        <p:txBody>
          <a:bodyPr/>
          <a:lstStyle/>
          <a:p>
            <a:fld id="{72F0694A-5BC2-4AE9-9165-502E6963F0C7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prstClr val="white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11" name="Espace réservé du texte 14"/>
          <p:cNvSpPr>
            <a:spLocks noGrp="1"/>
          </p:cNvSpPr>
          <p:nvPr>
            <p:ph type="body" sz="quarter" idx="19"/>
          </p:nvPr>
        </p:nvSpPr>
        <p:spPr bwMode="gray">
          <a:xfrm>
            <a:off x="539752" y="633883"/>
            <a:ext cx="8064500" cy="3600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4500" b="0" cap="none" baseline="0">
                <a:latin typeface="Avenir Black"/>
                <a:cs typeface="Avenir Black"/>
              </a:defRPr>
            </a:lvl1pPr>
            <a:lvl2pPr>
              <a:lnSpc>
                <a:spcPct val="90000"/>
              </a:lnSpc>
              <a:spcBef>
                <a:spcPts val="1500"/>
              </a:spcBef>
              <a:spcAft>
                <a:spcPts val="0"/>
              </a:spcAft>
              <a:defRPr sz="1500" cap="none" baseline="0">
                <a:solidFill>
                  <a:srgbClr val="6C6C6C"/>
                </a:solidFill>
                <a:latin typeface="Avenir Black"/>
                <a:cs typeface="Avenir Black"/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56756598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_2_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1" y="1743084"/>
            <a:ext cx="3960000" cy="2736851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12" name="Espace réservé du contenu 2"/>
          <p:cNvSpPr>
            <a:spLocks noGrp="1"/>
          </p:cNvSpPr>
          <p:nvPr>
            <p:ph idx="19" hasCustomPrompt="1"/>
          </p:nvPr>
        </p:nvSpPr>
        <p:spPr bwMode="gray">
          <a:xfrm>
            <a:off x="4644250" y="1743084"/>
            <a:ext cx="3960000" cy="2736851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10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89" y="4813200"/>
            <a:ext cx="7669213" cy="162000"/>
          </a:xfrm>
          <a:prstGeom prst="rect">
            <a:avLst/>
          </a:prstGeom>
        </p:spPr>
        <p:txBody>
          <a:bodyPr/>
          <a:lstStyle/>
          <a:p>
            <a:fld id="{55BE1B5E-DE97-428A-86A2-60B3968A3F3F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11" name="Espace réservé du texte 13"/>
          <p:cNvSpPr>
            <a:spLocks noGrp="1"/>
          </p:cNvSpPr>
          <p:nvPr>
            <p:ph type="body" sz="quarter" idx="14"/>
          </p:nvPr>
        </p:nvSpPr>
        <p:spPr bwMode="gray">
          <a:xfrm>
            <a:off x="538480" y="371793"/>
            <a:ext cx="8035290" cy="43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3200" b="0" i="0" cap="none" baseline="0">
                <a:solidFill>
                  <a:srgbClr val="71B304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2" y="950913"/>
            <a:ext cx="8064500" cy="432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i="0" cap="none" baseline="0">
                <a:solidFill>
                  <a:srgbClr val="747678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65647314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1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1" y="1743084"/>
            <a:ext cx="3960000" cy="2736851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11" name="Espace réservé pour une image  10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644250" y="1779589"/>
            <a:ext cx="3960000" cy="2520950"/>
          </a:xfrm>
          <a:prstGeom prst="rect">
            <a:avLst/>
          </a:prstGeom>
          <a:solidFill>
            <a:srgbClr val="D7D7D7"/>
          </a:solidFill>
        </p:spPr>
        <p:txBody>
          <a:bodyPr lIns="359892" tIns="1727484" rIns="359892" anchor="ctr" anchorCtr="0"/>
          <a:lstStyle>
            <a:lvl1pPr algn="ctr">
              <a:defRPr sz="1300" b="0" cap="none" baseline="0">
                <a:solidFill>
                  <a:srgbClr val="71B304"/>
                </a:solidFill>
                <a:latin typeface="+mn-lt"/>
              </a:defRPr>
            </a:lvl1pPr>
          </a:lstStyle>
          <a:p>
            <a:r>
              <a:rPr lang="fr-FR"/>
              <a:t>Sélectionner l’icône pour insérer une image (format 110 x 70 mm)</a:t>
            </a:r>
          </a:p>
        </p:txBody>
      </p:sp>
      <p:sp>
        <p:nvSpPr>
          <p:cNvPr id="10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89" y="4813200"/>
            <a:ext cx="7669213" cy="162000"/>
          </a:xfrm>
          <a:prstGeom prst="rect">
            <a:avLst/>
          </a:prstGeom>
        </p:spPr>
        <p:txBody>
          <a:bodyPr/>
          <a:lstStyle/>
          <a:p>
            <a:fld id="{3880887D-168A-43EB-86BF-29C054B8F765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12" name="Espace réservé du texte 13"/>
          <p:cNvSpPr>
            <a:spLocks noGrp="1"/>
          </p:cNvSpPr>
          <p:nvPr>
            <p:ph type="body" sz="quarter" idx="14"/>
          </p:nvPr>
        </p:nvSpPr>
        <p:spPr bwMode="gray">
          <a:xfrm>
            <a:off x="538480" y="371793"/>
            <a:ext cx="8035290" cy="43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3200" b="0" i="0" cap="none" baseline="0">
                <a:solidFill>
                  <a:srgbClr val="71B304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2" y="950913"/>
            <a:ext cx="8064500" cy="432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i="0" cap="none" baseline="0">
                <a:solidFill>
                  <a:srgbClr val="747678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20494235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66" y="1743075"/>
            <a:ext cx="8064499" cy="1665768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11" name="Espace réservé du texte 13"/>
          <p:cNvSpPr>
            <a:spLocks noGrp="1"/>
          </p:cNvSpPr>
          <p:nvPr>
            <p:ph type="body" sz="quarter" idx="14"/>
          </p:nvPr>
        </p:nvSpPr>
        <p:spPr bwMode="gray">
          <a:xfrm>
            <a:off x="539750" y="3531247"/>
            <a:ext cx="4824000" cy="294284"/>
          </a:xfrm>
          <a:prstGeom prst="rect">
            <a:avLst/>
          </a:prstGeom>
          <a:solidFill>
            <a:srgbClr val="D7D7D7"/>
          </a:solidFill>
          <a:ln w="82550">
            <a:solidFill>
              <a:srgbClr val="D7D7D7"/>
            </a:solidFill>
            <a:miter lim="800000"/>
          </a:ln>
        </p:spPr>
        <p:txBody>
          <a:bodyPr tIns="35988" bIns="35988">
            <a:sp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1600" b="0" cap="none" baseline="0">
                <a:solidFill>
                  <a:srgbClr val="71B304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89" y="4813200"/>
            <a:ext cx="7669213" cy="162000"/>
          </a:xfrm>
          <a:prstGeom prst="rect">
            <a:avLst/>
          </a:prstGeom>
        </p:spPr>
        <p:txBody>
          <a:bodyPr/>
          <a:lstStyle/>
          <a:p>
            <a:fld id="{52739C2B-E7ED-4D50-9FA0-0D724CCC7679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12" name="Espace réservé du texte 13"/>
          <p:cNvSpPr>
            <a:spLocks noGrp="1"/>
          </p:cNvSpPr>
          <p:nvPr>
            <p:ph type="body" sz="quarter" idx="15"/>
          </p:nvPr>
        </p:nvSpPr>
        <p:spPr bwMode="gray">
          <a:xfrm>
            <a:off x="538480" y="371793"/>
            <a:ext cx="8035290" cy="43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3200" b="0" i="0" cap="none" baseline="0">
                <a:solidFill>
                  <a:srgbClr val="71B304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2" y="950913"/>
            <a:ext cx="8064500" cy="432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i="0" cap="none" baseline="0">
                <a:solidFill>
                  <a:srgbClr val="747678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50353828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1" y="1743084"/>
            <a:ext cx="3960000" cy="2736851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15" name="Espace réservé du graphique 14"/>
          <p:cNvSpPr>
            <a:spLocks noGrp="1"/>
          </p:cNvSpPr>
          <p:nvPr>
            <p:ph type="chart" sz="quarter" idx="14" hasCustomPrompt="1"/>
          </p:nvPr>
        </p:nvSpPr>
        <p:spPr bwMode="gray">
          <a:xfrm>
            <a:off x="4644250" y="1779605"/>
            <a:ext cx="3960000" cy="2700337"/>
          </a:xfrm>
          <a:prstGeom prst="rect">
            <a:avLst/>
          </a:prstGeom>
          <a:noFill/>
        </p:spPr>
        <p:txBody>
          <a:bodyPr tIns="719784" anchor="ctr" anchorCtr="0"/>
          <a:lstStyle>
            <a:lvl1pPr algn="ctr">
              <a:defRPr b="0" cap="all" baseline="0">
                <a:latin typeface="+mn-lt"/>
              </a:defRPr>
            </a:lvl1pPr>
          </a:lstStyle>
          <a:p>
            <a:r>
              <a:rPr lang="fr-FR"/>
              <a:t>GRAPHIQUE</a:t>
            </a:r>
          </a:p>
        </p:txBody>
      </p:sp>
      <p:sp>
        <p:nvSpPr>
          <p:cNvPr id="10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89" y="4813200"/>
            <a:ext cx="7669213" cy="162000"/>
          </a:xfrm>
          <a:prstGeom prst="rect">
            <a:avLst/>
          </a:prstGeom>
        </p:spPr>
        <p:txBody>
          <a:bodyPr/>
          <a:lstStyle/>
          <a:p>
            <a:fld id="{16EE0A74-4775-4BD1-A074-BD7CB07ADAB3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11" name="Espace réservé du texte 13"/>
          <p:cNvSpPr>
            <a:spLocks noGrp="1"/>
          </p:cNvSpPr>
          <p:nvPr>
            <p:ph type="body" sz="quarter" idx="15"/>
          </p:nvPr>
        </p:nvSpPr>
        <p:spPr bwMode="gray">
          <a:xfrm>
            <a:off x="538480" y="371793"/>
            <a:ext cx="8035290" cy="43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3200" b="0" i="0" cap="none" baseline="0">
                <a:solidFill>
                  <a:srgbClr val="71B304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2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2" y="950913"/>
            <a:ext cx="8064500" cy="432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i="0" cap="none" baseline="0">
                <a:solidFill>
                  <a:srgbClr val="747678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02626369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_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89" y="4813200"/>
            <a:ext cx="7669213" cy="162000"/>
          </a:xfrm>
          <a:prstGeom prst="rect">
            <a:avLst/>
          </a:prstGeom>
        </p:spPr>
        <p:txBody>
          <a:bodyPr/>
          <a:lstStyle/>
          <a:p>
            <a:fld id="{4BB2BDD4-4CE3-49F6-AE82-DABB9F067A05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>
          <a:xfrm>
            <a:off x="179389" y="4813200"/>
            <a:ext cx="360362" cy="162000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>
                <a:solidFill>
                  <a:prstClr val="white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15" name="Espace réservé du graphique 14"/>
          <p:cNvSpPr>
            <a:spLocks noGrp="1"/>
          </p:cNvSpPr>
          <p:nvPr>
            <p:ph type="chart" sz="quarter" idx="14" hasCustomPrompt="1"/>
          </p:nvPr>
        </p:nvSpPr>
        <p:spPr bwMode="gray">
          <a:xfrm>
            <a:off x="539752" y="1779605"/>
            <a:ext cx="8064500" cy="2700337"/>
          </a:xfrm>
          <a:prstGeom prst="rect">
            <a:avLst/>
          </a:prstGeom>
        </p:spPr>
        <p:txBody>
          <a:bodyPr tIns="719784" anchor="ctr" anchorCtr="0"/>
          <a:lstStyle>
            <a:lvl1pPr algn="ctr">
              <a:defRPr b="0" cap="all" baseline="0">
                <a:latin typeface="+mn-lt"/>
              </a:defRPr>
            </a:lvl1pPr>
          </a:lstStyle>
          <a:p>
            <a:r>
              <a:rPr lang="fr-FR"/>
              <a:t>GRAPHIQUE</a:t>
            </a:r>
          </a:p>
        </p:txBody>
      </p:sp>
      <p:sp>
        <p:nvSpPr>
          <p:cNvPr id="10" name="Espace réservé du texte 13"/>
          <p:cNvSpPr>
            <a:spLocks noGrp="1"/>
          </p:cNvSpPr>
          <p:nvPr>
            <p:ph type="body" sz="quarter" idx="15"/>
          </p:nvPr>
        </p:nvSpPr>
        <p:spPr bwMode="gray">
          <a:xfrm>
            <a:off x="538480" y="371793"/>
            <a:ext cx="8035290" cy="43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3200" b="0" i="0" cap="none" baseline="0">
                <a:solidFill>
                  <a:srgbClr val="71B304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1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2" y="950913"/>
            <a:ext cx="8064500" cy="432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i="0" cap="none" baseline="0">
                <a:solidFill>
                  <a:srgbClr val="747678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05757342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_graphique_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graphique 14"/>
          <p:cNvSpPr>
            <a:spLocks noGrp="1"/>
          </p:cNvSpPr>
          <p:nvPr>
            <p:ph type="chart" sz="quarter" idx="14" hasCustomPrompt="1"/>
          </p:nvPr>
        </p:nvSpPr>
        <p:spPr bwMode="gray">
          <a:xfrm>
            <a:off x="539752" y="1779605"/>
            <a:ext cx="8064500" cy="2700337"/>
          </a:xfrm>
          <a:prstGeom prst="rect">
            <a:avLst/>
          </a:prstGeom>
        </p:spPr>
        <p:txBody>
          <a:bodyPr tIns="719784" anchor="ctr" anchorCtr="0"/>
          <a:lstStyle>
            <a:lvl1pPr algn="ctr">
              <a:defRPr b="0" cap="all" baseline="0">
                <a:latin typeface="+mn-lt"/>
              </a:defRPr>
            </a:lvl1pPr>
          </a:lstStyle>
          <a:p>
            <a:r>
              <a:rPr lang="fr-FR"/>
              <a:t>GRAPHIQU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89" y="4813200"/>
            <a:ext cx="7669213" cy="162000"/>
          </a:xfrm>
          <a:prstGeom prst="rect">
            <a:avLst/>
          </a:prstGeom>
        </p:spPr>
        <p:txBody>
          <a:bodyPr/>
          <a:lstStyle/>
          <a:p>
            <a:fld id="{D9BB8EA0-4FFB-4BAC-A1A6-415BA65BE7E4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>
          <a:xfrm>
            <a:off x="179389" y="4813200"/>
            <a:ext cx="360362" cy="162000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>
                <a:solidFill>
                  <a:prstClr val="white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5"/>
          </p:nvPr>
        </p:nvSpPr>
        <p:spPr bwMode="gray">
          <a:xfrm>
            <a:off x="5652147" y="1743077"/>
            <a:ext cx="2952131" cy="190857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0" name="Espace réservé du texte 13"/>
          <p:cNvSpPr>
            <a:spLocks noGrp="1"/>
          </p:cNvSpPr>
          <p:nvPr>
            <p:ph type="body" sz="quarter" idx="16"/>
          </p:nvPr>
        </p:nvSpPr>
        <p:spPr bwMode="gray">
          <a:xfrm>
            <a:off x="538480" y="371793"/>
            <a:ext cx="8035290" cy="43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3200" b="0" i="0" cap="none" baseline="0">
                <a:solidFill>
                  <a:srgbClr val="71B304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1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2" y="950913"/>
            <a:ext cx="8064500" cy="432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i="0" cap="none" baseline="0">
                <a:solidFill>
                  <a:srgbClr val="747678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99187329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_tableau_typ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89" y="4813200"/>
            <a:ext cx="7669213" cy="162000"/>
          </a:xfrm>
          <a:prstGeom prst="rect">
            <a:avLst/>
          </a:prstGeom>
        </p:spPr>
        <p:txBody>
          <a:bodyPr/>
          <a:lstStyle/>
          <a:p>
            <a:fld id="{FA9067BA-E027-4806-A2C6-59CFCF450664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>
          <a:xfrm>
            <a:off x="179389" y="4813200"/>
            <a:ext cx="360362" cy="162000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>
                <a:solidFill>
                  <a:prstClr val="white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13" name="Espace réservé du tableau 12"/>
          <p:cNvSpPr>
            <a:spLocks noGrp="1"/>
          </p:cNvSpPr>
          <p:nvPr>
            <p:ph type="tbl" sz="quarter" idx="14"/>
          </p:nvPr>
        </p:nvSpPr>
        <p:spPr bwMode="gray">
          <a:xfrm>
            <a:off x="539766" y="1779588"/>
            <a:ext cx="8064499" cy="2340000"/>
          </a:xfrm>
          <a:prstGeom prst="rect">
            <a:avLst/>
          </a:prstGeom>
        </p:spPr>
        <p:txBody>
          <a:bodyPr tIns="719784" anchor="ctr" anchorCtr="0"/>
          <a:lstStyle>
            <a:lvl1pPr algn="ctr">
              <a:spcAft>
                <a:spcPts val="0"/>
              </a:spcAft>
              <a:defRPr b="0" cap="all" baseline="0"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987674" y="4146620"/>
            <a:ext cx="900000" cy="216000"/>
          </a:xfrm>
          <a:prstGeom prst="rect">
            <a:avLst/>
          </a:prstGeo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8" name="Espace réservé du texte 16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807804" y="4209318"/>
            <a:ext cx="93600" cy="93600"/>
          </a:xfrm>
          <a:prstGeom prst="ellipse">
            <a:avLst/>
          </a:prstGeom>
          <a:solidFill>
            <a:schemeClr val="accent1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9" name="Espace réservé du texte 16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166818" y="4146620"/>
            <a:ext cx="900000" cy="216000"/>
          </a:xfrm>
          <a:prstGeom prst="rect">
            <a:avLst/>
          </a:prstGeo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0" name="Espace réservé du texte 1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986948" y="4209318"/>
            <a:ext cx="93600" cy="93600"/>
          </a:xfrm>
          <a:prstGeom prst="ellipse">
            <a:avLst/>
          </a:prstGeom>
          <a:solidFill>
            <a:schemeClr val="accent2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1" name="Espace réservé du texte 16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345962" y="4146620"/>
            <a:ext cx="900000" cy="216000"/>
          </a:xfrm>
          <a:prstGeom prst="rect">
            <a:avLst/>
          </a:prstGeo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2" name="Espace réservé du texte 1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166092" y="4209318"/>
            <a:ext cx="93600" cy="93600"/>
          </a:xfrm>
          <a:prstGeom prst="ellipse">
            <a:avLst/>
          </a:prstGeom>
          <a:solidFill>
            <a:schemeClr val="accent4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3" name="Espace réservé du texte 16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525106" y="4146620"/>
            <a:ext cx="900000" cy="216000"/>
          </a:xfrm>
          <a:prstGeom prst="rect">
            <a:avLst/>
          </a:prstGeo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4" name="Espace réservé du texte 16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345236" y="4209318"/>
            <a:ext cx="93600" cy="93600"/>
          </a:xfrm>
          <a:prstGeom prst="ellipse">
            <a:avLst/>
          </a:prstGeom>
          <a:solidFill>
            <a:schemeClr val="accent5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5" name="Espace réservé du texte 16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704250" y="4146620"/>
            <a:ext cx="900000" cy="216000"/>
          </a:xfrm>
          <a:prstGeom prst="rect">
            <a:avLst/>
          </a:prstGeo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6" name="Espace réservé du texte 16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7524380" y="4209318"/>
            <a:ext cx="93600" cy="93600"/>
          </a:xfrm>
          <a:prstGeom prst="ellipse">
            <a:avLst/>
          </a:prstGeom>
          <a:solidFill>
            <a:schemeClr val="bg2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7" name="Espace réservé du texte 13"/>
          <p:cNvSpPr>
            <a:spLocks noGrp="1"/>
          </p:cNvSpPr>
          <p:nvPr>
            <p:ph type="body" sz="quarter" idx="25"/>
          </p:nvPr>
        </p:nvSpPr>
        <p:spPr bwMode="gray">
          <a:xfrm>
            <a:off x="538480" y="371793"/>
            <a:ext cx="8035290" cy="43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3200" b="0" i="0" cap="none" baseline="0">
                <a:solidFill>
                  <a:srgbClr val="71B304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8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2" y="950913"/>
            <a:ext cx="8064500" cy="432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i="0" cap="none" baseline="0">
                <a:solidFill>
                  <a:srgbClr val="747678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6745320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1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fr-FR"/>
              <a:t>Cliquez et modifiez le titre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740570"/>
            <a:ext cx="4629150" cy="3655218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fr-FR"/>
              <a:t>Faire glisser l'image vers l'espace réservé ou cliquer sur l'icône pour l'ajouter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3"/>
          </a:xfrm>
          <a:prstGeom prst="rect">
            <a:avLst/>
          </a:prstGeom>
        </p:spPr>
        <p:txBody>
          <a:bodyPr/>
          <a:lstStyle/>
          <a:p>
            <a:fld id="{D91DC166-3F88-4849-A61A-AD75C82AAE0A}" type="datetimeFigureOut">
              <a:rPr lang="fr-FR" smtClean="0"/>
              <a:t>17/01/2022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3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3"/>
          </a:xfrm>
          <a:prstGeom prst="rect">
            <a:avLst/>
          </a:prstGeom>
        </p:spPr>
        <p:txBody>
          <a:bodyPr/>
          <a:lstStyle/>
          <a:p>
            <a:fld id="{44AC34E9-4D80-9947-9379-C8B62DEAC814}" type="slidenum">
              <a:rPr lang="fr-FR" smtClean="0"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_tableau_typ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89" y="4813200"/>
            <a:ext cx="7669213" cy="162000"/>
          </a:xfrm>
          <a:prstGeom prst="rect">
            <a:avLst/>
          </a:prstGeom>
        </p:spPr>
        <p:txBody>
          <a:bodyPr/>
          <a:lstStyle/>
          <a:p>
            <a:fld id="{0F632DCA-5AEC-48C4-B862-BA8CD1363532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>
          <a:xfrm>
            <a:off x="179389" y="4813200"/>
            <a:ext cx="360362" cy="162000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>
                <a:solidFill>
                  <a:prstClr val="white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13" name="Espace réservé du tableau 12"/>
          <p:cNvSpPr>
            <a:spLocks noGrp="1"/>
          </p:cNvSpPr>
          <p:nvPr>
            <p:ph type="tbl" sz="quarter" idx="14"/>
          </p:nvPr>
        </p:nvSpPr>
        <p:spPr bwMode="gray">
          <a:xfrm>
            <a:off x="539766" y="1779588"/>
            <a:ext cx="8064499" cy="2160000"/>
          </a:xfrm>
          <a:prstGeom prst="rect">
            <a:avLst/>
          </a:prstGeom>
        </p:spPr>
        <p:txBody>
          <a:bodyPr tIns="719784" anchor="ctr" anchorCtr="0"/>
          <a:lstStyle>
            <a:lvl1pPr algn="ctr">
              <a:spcAft>
                <a:spcPts val="0"/>
              </a:spcAft>
              <a:defRPr b="0" cap="all" baseline="0"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987674" y="4148070"/>
            <a:ext cx="900000" cy="216000"/>
          </a:xfrm>
          <a:prstGeom prst="rect">
            <a:avLst/>
          </a:prstGeo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8" name="Espace réservé du texte 16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807804" y="4209318"/>
            <a:ext cx="93600" cy="93600"/>
          </a:xfrm>
          <a:prstGeom prst="ellipse">
            <a:avLst/>
          </a:prstGeom>
          <a:solidFill>
            <a:schemeClr val="accent6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9" name="Espace réservé du texte 16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166818" y="4148070"/>
            <a:ext cx="900000" cy="216000"/>
          </a:xfrm>
          <a:prstGeom prst="rect">
            <a:avLst/>
          </a:prstGeo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0" name="Espace réservé du texte 1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986948" y="4209318"/>
            <a:ext cx="93600" cy="93600"/>
          </a:xfrm>
          <a:prstGeom prst="ellipse">
            <a:avLst/>
          </a:prstGeom>
          <a:solidFill>
            <a:schemeClr val="accent2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1" name="Espace réservé du texte 16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345962" y="4148070"/>
            <a:ext cx="900000" cy="216000"/>
          </a:xfrm>
          <a:prstGeom prst="rect">
            <a:avLst/>
          </a:prstGeo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2" name="Espace réservé du texte 1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166092" y="4209318"/>
            <a:ext cx="93600" cy="93600"/>
          </a:xfrm>
          <a:prstGeom prst="ellipse">
            <a:avLst/>
          </a:prstGeom>
          <a:solidFill>
            <a:schemeClr val="accent4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3" name="Espace réservé du texte 16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525106" y="4148070"/>
            <a:ext cx="900000" cy="216000"/>
          </a:xfrm>
          <a:prstGeom prst="rect">
            <a:avLst/>
          </a:prstGeo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4" name="Espace réservé du texte 16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345236" y="4209318"/>
            <a:ext cx="93600" cy="93600"/>
          </a:xfrm>
          <a:prstGeom prst="ellipse">
            <a:avLst/>
          </a:prstGeom>
          <a:solidFill>
            <a:schemeClr val="accent5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5" name="Espace réservé du texte 16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704250" y="4148070"/>
            <a:ext cx="900000" cy="216000"/>
          </a:xfrm>
          <a:prstGeom prst="rect">
            <a:avLst/>
          </a:prstGeom>
        </p:spPr>
        <p:txBody>
          <a:bodyPr anchor="ctr" anchorCtr="0"/>
          <a:lstStyle>
            <a:lvl1pPr>
              <a:spcAft>
                <a:spcPts val="0"/>
              </a:spcAft>
              <a:defRPr sz="1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6" name="Espace réservé du texte 16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7524380" y="4209318"/>
            <a:ext cx="93600" cy="93600"/>
          </a:xfrm>
          <a:prstGeom prst="ellipse">
            <a:avLst/>
          </a:prstGeom>
          <a:solidFill>
            <a:schemeClr val="bg2"/>
          </a:solidFill>
        </p:spPr>
        <p:txBody>
          <a:bodyPr/>
          <a:lstStyle>
            <a:lvl1pPr>
              <a:spcAft>
                <a:spcPts val="0"/>
              </a:spcAft>
              <a:defRPr sz="100" b="0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7" name="Espace réservé du texte 13"/>
          <p:cNvSpPr>
            <a:spLocks noGrp="1"/>
          </p:cNvSpPr>
          <p:nvPr>
            <p:ph type="body" sz="quarter" idx="25"/>
          </p:nvPr>
        </p:nvSpPr>
        <p:spPr bwMode="gray">
          <a:xfrm>
            <a:off x="538480" y="371793"/>
            <a:ext cx="8035290" cy="43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3200" b="0" i="0" cap="none" baseline="0">
                <a:solidFill>
                  <a:srgbClr val="71B304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8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2" y="950913"/>
            <a:ext cx="8064500" cy="432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i="0" cap="none" baseline="0">
                <a:solidFill>
                  <a:srgbClr val="747678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08382559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&amp;_cartouche_dro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539766" y="485802"/>
            <a:ext cx="8064499" cy="4651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FR" noProof="0" err="1"/>
              <a:t>Titr</a:t>
            </a:r>
            <a:endParaRPr lang="fr-FR" noProof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1" y="1743075"/>
            <a:ext cx="3960000" cy="2736850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89" y="4813200"/>
            <a:ext cx="7669213" cy="162000"/>
          </a:xfrm>
          <a:prstGeom prst="rect">
            <a:avLst/>
          </a:prstGeom>
        </p:spPr>
        <p:txBody>
          <a:bodyPr/>
          <a:lstStyle/>
          <a:p>
            <a:fld id="{1C0A69B5-6C66-429A-A665-F61690F9EE8A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>
          <a:xfrm>
            <a:off x="179389" y="4813200"/>
            <a:ext cx="360362" cy="162000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>
                <a:solidFill>
                  <a:prstClr val="white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2" y="950913"/>
            <a:ext cx="8064500" cy="432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i="0" cap="none" baseline="0">
                <a:solidFill>
                  <a:srgbClr val="747678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/>
          </p:nvPr>
        </p:nvSpPr>
        <p:spPr bwMode="gray">
          <a:xfrm>
            <a:off x="4644250" y="1779588"/>
            <a:ext cx="3960000" cy="486000"/>
          </a:xfrm>
          <a:prstGeom prst="rect">
            <a:avLst/>
          </a:prstGeom>
          <a:solidFill>
            <a:srgbClr val="71B304"/>
          </a:solidFill>
        </p:spPr>
        <p:txBody>
          <a:bodyPr lIns="287916" tIns="17999" rIns="71982" bIns="0" anchor="ctr" anchorCtr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b="0" cap="none" baseline="0">
                <a:solidFill>
                  <a:schemeClr val="bg1"/>
                </a:solidFill>
                <a:latin typeface="Avenir Black"/>
                <a:cs typeface="Avenir Black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du texte 11"/>
          <p:cNvSpPr>
            <a:spLocks noGrp="1"/>
          </p:cNvSpPr>
          <p:nvPr>
            <p:ph type="body" sz="quarter" idx="15"/>
          </p:nvPr>
        </p:nvSpPr>
        <p:spPr bwMode="gray">
          <a:xfrm>
            <a:off x="4644250" y="2355727"/>
            <a:ext cx="3960000" cy="1944812"/>
          </a:xfrm>
          <a:prstGeom prst="rect">
            <a:avLst/>
          </a:prstGeom>
          <a:solidFill>
            <a:srgbClr val="71B304"/>
          </a:solidFill>
        </p:spPr>
        <p:txBody>
          <a:bodyPr wrap="square" lIns="143963" tIns="71982" rIns="71982" bIns="71982" anchor="t" anchorCtr="0">
            <a:noAutofit/>
          </a:bodyPr>
          <a:lstStyle>
            <a:lvl1pPr marL="143963" indent="-143963">
              <a:buFont typeface="Avenir LT Std 45 Book" pitchFamily="34" charset="0"/>
              <a:buChar char="+"/>
              <a:defRPr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1" name="Espace réservé du texte 13"/>
          <p:cNvSpPr>
            <a:spLocks noGrp="1"/>
          </p:cNvSpPr>
          <p:nvPr>
            <p:ph type="body" sz="quarter" idx="16"/>
          </p:nvPr>
        </p:nvSpPr>
        <p:spPr bwMode="gray">
          <a:xfrm>
            <a:off x="538480" y="371793"/>
            <a:ext cx="8035290" cy="43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3200" b="0" i="0" cap="none" baseline="0">
                <a:solidFill>
                  <a:srgbClr val="71B304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60339521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&amp;_cartouche_gau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4824250" y="1156815"/>
            <a:ext cx="3780000" cy="33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1B304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89" y="4813200"/>
            <a:ext cx="7669213" cy="162000"/>
          </a:xfrm>
          <a:prstGeom prst="rect">
            <a:avLst/>
          </a:prstGeom>
        </p:spPr>
        <p:txBody>
          <a:bodyPr/>
          <a:lstStyle/>
          <a:p>
            <a:fld id="{C9D839B7-9AE6-4DB9-AED7-3093FD1B6D42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>
          <a:xfrm>
            <a:off x="179389" y="4813200"/>
            <a:ext cx="360362" cy="162000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>
                <a:solidFill>
                  <a:prstClr val="white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/>
          </p:nvPr>
        </p:nvSpPr>
        <p:spPr bwMode="gray">
          <a:xfrm>
            <a:off x="539750" y="519523"/>
            <a:ext cx="3780000" cy="3781016"/>
          </a:xfrm>
          <a:prstGeom prst="rect">
            <a:avLst/>
          </a:prstGeom>
          <a:solidFill>
            <a:srgbClr val="71B304"/>
          </a:solidFill>
        </p:spPr>
        <p:txBody>
          <a:bodyPr lIns="287916" tIns="629819" rIns="71982" bIns="107964" anchor="t" anchorCtr="0">
            <a:noAutofit/>
          </a:bodyPr>
          <a:lstStyle>
            <a:lvl1pPr marL="215930" indent="-215930">
              <a:lnSpc>
                <a:spcPct val="90000"/>
              </a:lnSpc>
              <a:spcAft>
                <a:spcPts val="0"/>
              </a:spcAft>
              <a:buFont typeface="Avenir LT Std 65 Medium" pitchFamily="34" charset="0"/>
              <a:buChar char="+"/>
              <a:defRPr sz="2200" b="0" cap="none" baseline="0">
                <a:solidFill>
                  <a:schemeClr val="bg1"/>
                </a:solidFill>
                <a:latin typeface="Avenir LT Std 65 Medium" pitchFamily="34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01750565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_&amp;_2_cartouch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89" y="4813200"/>
            <a:ext cx="7669213" cy="162000"/>
          </a:xfrm>
          <a:prstGeom prst="rect">
            <a:avLst/>
          </a:prstGeom>
        </p:spPr>
        <p:txBody>
          <a:bodyPr/>
          <a:lstStyle/>
          <a:p>
            <a:fld id="{083A57E3-C9CF-4606-AD67-152F170C01A4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>
          <a:xfrm>
            <a:off x="179389" y="4813200"/>
            <a:ext cx="360362" cy="162000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>
                <a:solidFill>
                  <a:prstClr val="white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13" name="Espace réservé du texte 11"/>
          <p:cNvSpPr>
            <a:spLocks noGrp="1"/>
          </p:cNvSpPr>
          <p:nvPr>
            <p:ph type="body" sz="quarter" idx="15"/>
          </p:nvPr>
        </p:nvSpPr>
        <p:spPr bwMode="gray">
          <a:xfrm>
            <a:off x="4824250" y="519113"/>
            <a:ext cx="3780000" cy="3781425"/>
          </a:xfrm>
          <a:prstGeom prst="rect">
            <a:avLst/>
          </a:prstGeom>
          <a:noFill/>
        </p:spPr>
        <p:txBody>
          <a:bodyPr lIns="0" tIns="35988" rIns="0" bIns="0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2200" b="0" cap="none" baseline="0">
                <a:solidFill>
                  <a:srgbClr val="71B304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930339" y="2049826"/>
            <a:ext cx="720000" cy="720000"/>
          </a:xfrm>
          <a:prstGeom prst="diamond">
            <a:avLst/>
          </a:prstGeom>
          <a:solidFill>
            <a:srgbClr val="71B304"/>
          </a:solidFill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100" b="0" cap="all" baseline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/>
          </p:nvPr>
        </p:nvSpPr>
        <p:spPr bwMode="gray">
          <a:xfrm>
            <a:off x="539750" y="519115"/>
            <a:ext cx="3780000" cy="3781424"/>
          </a:xfrm>
          <a:prstGeom prst="rect">
            <a:avLst/>
          </a:prstGeom>
          <a:solidFill>
            <a:srgbClr val="71B304"/>
          </a:solidFill>
        </p:spPr>
        <p:txBody>
          <a:bodyPr lIns="287916" tIns="143963" rIns="71982" bIns="107964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22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60986568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artouches_petites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9751" y="2427479"/>
            <a:ext cx="2520082" cy="1873085"/>
          </a:xfrm>
          <a:prstGeom prst="rect">
            <a:avLst/>
          </a:prstGeom>
          <a:solidFill>
            <a:srgbClr val="D7D7D7"/>
          </a:solidFill>
        </p:spPr>
        <p:txBody>
          <a:bodyPr lIns="143963" tIns="1007700" rIns="71982" bIns="35988" anchor="t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1200" b="0" cap="all" baseline="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539766" y="485802"/>
            <a:ext cx="8064499" cy="4651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89" y="4813200"/>
            <a:ext cx="7669213" cy="162000"/>
          </a:xfrm>
          <a:prstGeom prst="rect">
            <a:avLst/>
          </a:prstGeom>
        </p:spPr>
        <p:txBody>
          <a:bodyPr/>
          <a:lstStyle/>
          <a:p>
            <a:fld id="{41B97206-D6FD-4520-BFCD-C3B2FDDA480B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>
          <a:xfrm>
            <a:off x="179389" y="4813200"/>
            <a:ext cx="360362" cy="162000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>
                <a:solidFill>
                  <a:prstClr val="white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2" y="950913"/>
            <a:ext cx="8064500" cy="432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39751" y="1779588"/>
            <a:ext cx="2520082" cy="648000"/>
          </a:xfrm>
          <a:prstGeom prst="rect">
            <a:avLst/>
          </a:prstGeom>
          <a:solidFill>
            <a:srgbClr val="71B304"/>
          </a:solidFill>
        </p:spPr>
        <p:txBody>
          <a:bodyPr lIns="143963" tIns="71982" rIns="71982" bIns="35988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0. titre</a:t>
            </a:r>
          </a:p>
        </p:txBody>
      </p:sp>
      <p:sp>
        <p:nvSpPr>
          <p:cNvPr id="17" name="Espace réservé pour une image  10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83568" y="2499833"/>
            <a:ext cx="828000" cy="828000"/>
          </a:xfrm>
          <a:prstGeom prst="rect">
            <a:avLst/>
          </a:prstGeom>
          <a:noFill/>
        </p:spPr>
        <p:txBody>
          <a:bodyPr lIns="0" tIns="0" rIns="0" anchor="ctr" anchorCtr="0"/>
          <a:lstStyle>
            <a:lvl1pPr algn="ctr">
              <a:defRPr sz="800" b="0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fr-FR"/>
              <a:t>Sélectionner l’icône pour insérer une image (format 23 x 23 mm)</a:t>
            </a:r>
          </a:p>
        </p:txBody>
      </p:sp>
      <p:sp>
        <p:nvSpPr>
          <p:cNvPr id="18" name="Espace réservé du texte 11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311961" y="2427480"/>
            <a:ext cx="2520082" cy="1873085"/>
          </a:xfrm>
          <a:prstGeom prst="rect">
            <a:avLst/>
          </a:prstGeom>
          <a:solidFill>
            <a:srgbClr val="D7D7D7"/>
          </a:solidFill>
        </p:spPr>
        <p:txBody>
          <a:bodyPr lIns="143963" tIns="1007700" rIns="71982" bIns="35988" anchor="t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1200" b="0" cap="all" baseline="0">
                <a:solidFill>
                  <a:schemeClr val="tx1"/>
                </a:solidFill>
                <a:latin typeface="Avenir LT Std 35 Light" pitchFamily="34" charset="0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9" name="Espace réservé du texte 11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311961" y="1779589"/>
            <a:ext cx="2520082" cy="648000"/>
          </a:xfrm>
          <a:prstGeom prst="rect">
            <a:avLst/>
          </a:prstGeom>
          <a:solidFill>
            <a:srgbClr val="71B304"/>
          </a:solidFill>
        </p:spPr>
        <p:txBody>
          <a:bodyPr lIns="143963" tIns="71982" rIns="71982" bIns="35988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0. titre</a:t>
            </a:r>
          </a:p>
        </p:txBody>
      </p:sp>
      <p:sp>
        <p:nvSpPr>
          <p:cNvPr id="20" name="Espace réservé pour une image  10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3455777" y="2499834"/>
            <a:ext cx="828000" cy="828000"/>
          </a:xfrm>
          <a:prstGeom prst="rect">
            <a:avLst/>
          </a:prstGeom>
          <a:noFill/>
        </p:spPr>
        <p:txBody>
          <a:bodyPr lIns="0" tIns="0" rIns="0" anchor="ctr" anchorCtr="0"/>
          <a:lstStyle>
            <a:lvl1pPr algn="ctr">
              <a:defRPr sz="800" b="0" cap="all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fr-FR"/>
              <a:t>Sélectionner l’icône pour insérer une image (format 23 x 23 mm)</a:t>
            </a:r>
          </a:p>
        </p:txBody>
      </p:sp>
      <p:sp>
        <p:nvSpPr>
          <p:cNvPr id="21" name="Espace réservé du texte 11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084168" y="2427480"/>
            <a:ext cx="2520082" cy="1873085"/>
          </a:xfrm>
          <a:prstGeom prst="rect">
            <a:avLst/>
          </a:prstGeom>
          <a:solidFill>
            <a:srgbClr val="71B304"/>
          </a:solidFill>
        </p:spPr>
        <p:txBody>
          <a:bodyPr lIns="143963" tIns="1007700" rIns="71982" bIns="35988" anchor="t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1200" b="0" cap="all" baseline="0">
                <a:solidFill>
                  <a:schemeClr val="bg1"/>
                </a:solidFill>
                <a:latin typeface="Avenir LT Std 35 Light" pitchFamily="34" charset="0"/>
              </a:defRPr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22" name="Espace réservé du texte 11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084168" y="1779589"/>
            <a:ext cx="2520082" cy="648000"/>
          </a:xfrm>
          <a:prstGeom prst="rect">
            <a:avLst/>
          </a:prstGeom>
          <a:solidFill>
            <a:srgbClr val="71B304"/>
          </a:solidFill>
        </p:spPr>
        <p:txBody>
          <a:bodyPr lIns="143963" tIns="71982" rIns="71982" bIns="35988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0. titre</a:t>
            </a:r>
          </a:p>
        </p:txBody>
      </p:sp>
      <p:sp>
        <p:nvSpPr>
          <p:cNvPr id="23" name="Espace réservé pour une image  10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6227986" y="2499834"/>
            <a:ext cx="828000" cy="828000"/>
          </a:xfrm>
          <a:prstGeom prst="rect">
            <a:avLst/>
          </a:prstGeom>
          <a:noFill/>
        </p:spPr>
        <p:txBody>
          <a:bodyPr lIns="0" tIns="0" rIns="0" anchor="ctr" anchorCtr="0"/>
          <a:lstStyle>
            <a:lvl1pPr algn="ctr">
              <a:defRPr sz="800" b="0" cap="all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/>
              <a:t>Sélectionner l’icône pour insérer une image (format 23 x 23 mm)</a:t>
            </a:r>
          </a:p>
        </p:txBody>
      </p:sp>
      <p:sp>
        <p:nvSpPr>
          <p:cNvPr id="24" name="Espace réservé du texte 13"/>
          <p:cNvSpPr>
            <a:spLocks noGrp="1"/>
          </p:cNvSpPr>
          <p:nvPr>
            <p:ph type="body" sz="quarter" idx="16"/>
          </p:nvPr>
        </p:nvSpPr>
        <p:spPr bwMode="gray">
          <a:xfrm>
            <a:off x="538480" y="371793"/>
            <a:ext cx="8035290" cy="43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3200" b="0" i="0" cap="none" baseline="0">
                <a:solidFill>
                  <a:srgbClr val="71B304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20676279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artouches_grandes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539766" y="485802"/>
            <a:ext cx="8064499" cy="4651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89" y="4813200"/>
            <a:ext cx="7669213" cy="162000"/>
          </a:xfrm>
          <a:prstGeom prst="rect">
            <a:avLst/>
          </a:prstGeom>
        </p:spPr>
        <p:txBody>
          <a:bodyPr/>
          <a:lstStyle/>
          <a:p>
            <a:fld id="{DEE2A45F-E2DC-453D-ADD8-0BEA537D77E1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>
          <a:xfrm>
            <a:off x="179389" y="4813200"/>
            <a:ext cx="360362" cy="162000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>
                <a:solidFill>
                  <a:prstClr val="white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2" y="950913"/>
            <a:ext cx="8064500" cy="432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39751" y="1779588"/>
            <a:ext cx="2520082" cy="648000"/>
          </a:xfrm>
          <a:prstGeom prst="rect">
            <a:avLst/>
          </a:prstGeom>
          <a:solidFill>
            <a:srgbClr val="71B304"/>
          </a:solidFill>
        </p:spPr>
        <p:txBody>
          <a:bodyPr lIns="143963" tIns="71982" rIns="71982" bIns="35988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0. titre</a:t>
            </a:r>
          </a:p>
        </p:txBody>
      </p:sp>
      <p:sp>
        <p:nvSpPr>
          <p:cNvPr id="17" name="Espace réservé pour une image  10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539832" y="2427589"/>
            <a:ext cx="2520000" cy="1872950"/>
          </a:xfrm>
          <a:prstGeom prst="rect">
            <a:avLst/>
          </a:prstGeom>
          <a:solidFill>
            <a:srgbClr val="D7D7D7"/>
          </a:solidFill>
        </p:spPr>
        <p:txBody>
          <a:bodyPr lIns="35988" tIns="971712" rIns="35988" anchor="ctr" anchorCtr="0"/>
          <a:lstStyle>
            <a:lvl1pPr algn="ctr">
              <a:defRPr sz="1300" b="0" cap="all" baseline="0">
                <a:solidFill>
                  <a:srgbClr val="71B304"/>
                </a:solidFill>
                <a:latin typeface="+mn-lt"/>
              </a:defRPr>
            </a:lvl1pPr>
          </a:lstStyle>
          <a:p>
            <a:r>
              <a:rPr lang="fr-FR"/>
              <a:t>Sélectionner l’icône pour insérer une image format ( 70 x 52 mm)</a:t>
            </a:r>
          </a:p>
        </p:txBody>
      </p:sp>
      <p:sp>
        <p:nvSpPr>
          <p:cNvPr id="25" name="Espace réservé du texte 11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311961" y="1779588"/>
            <a:ext cx="2520082" cy="648000"/>
          </a:xfrm>
          <a:prstGeom prst="rect">
            <a:avLst/>
          </a:prstGeom>
          <a:solidFill>
            <a:srgbClr val="71B304"/>
          </a:solidFill>
        </p:spPr>
        <p:txBody>
          <a:bodyPr lIns="143963" tIns="71982" rIns="71982" bIns="35988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0. titre</a:t>
            </a:r>
          </a:p>
        </p:txBody>
      </p:sp>
      <p:sp>
        <p:nvSpPr>
          <p:cNvPr id="26" name="Espace réservé pour une image  10"/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3312041" y="2427589"/>
            <a:ext cx="2520000" cy="1872950"/>
          </a:xfrm>
          <a:prstGeom prst="rect">
            <a:avLst/>
          </a:prstGeom>
          <a:solidFill>
            <a:srgbClr val="D7D7D7"/>
          </a:solidFill>
        </p:spPr>
        <p:txBody>
          <a:bodyPr lIns="35988" tIns="971712" rIns="35988" anchor="ctr" anchorCtr="0"/>
          <a:lstStyle>
            <a:lvl1pPr algn="ctr">
              <a:defRPr sz="1300" b="0" cap="all" baseline="0">
                <a:solidFill>
                  <a:srgbClr val="71B304"/>
                </a:solidFill>
                <a:latin typeface="+mn-lt"/>
              </a:defRPr>
            </a:lvl1pPr>
          </a:lstStyle>
          <a:p>
            <a:r>
              <a:rPr lang="fr-FR"/>
              <a:t>Sélectionner l’icône pour insérer une image format ( 70 x 52 mm)</a:t>
            </a:r>
          </a:p>
        </p:txBody>
      </p:sp>
      <p:sp>
        <p:nvSpPr>
          <p:cNvPr id="27" name="Espace réservé du texte 11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084168" y="1779588"/>
            <a:ext cx="2520082" cy="648000"/>
          </a:xfrm>
          <a:prstGeom prst="rect">
            <a:avLst/>
          </a:prstGeom>
          <a:solidFill>
            <a:srgbClr val="71B304"/>
          </a:solidFill>
        </p:spPr>
        <p:txBody>
          <a:bodyPr lIns="143963" tIns="71982" rIns="71982" bIns="35988"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Font typeface="Arial" pitchFamily="34" charset="0"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0. titre</a:t>
            </a:r>
          </a:p>
        </p:txBody>
      </p:sp>
      <p:sp>
        <p:nvSpPr>
          <p:cNvPr id="28" name="Espace réservé pour une image  10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6084250" y="2427589"/>
            <a:ext cx="2520000" cy="1872950"/>
          </a:xfrm>
          <a:prstGeom prst="rect">
            <a:avLst/>
          </a:prstGeom>
          <a:solidFill>
            <a:srgbClr val="D7D7D7"/>
          </a:solidFill>
        </p:spPr>
        <p:txBody>
          <a:bodyPr lIns="35988" tIns="971712" rIns="35988" anchor="ctr" anchorCtr="0"/>
          <a:lstStyle>
            <a:lvl1pPr algn="ctr">
              <a:defRPr sz="1300" b="0" cap="all" baseline="0">
                <a:solidFill>
                  <a:srgbClr val="71B304"/>
                </a:solidFill>
                <a:latin typeface="+mn-lt"/>
              </a:defRPr>
            </a:lvl1pPr>
          </a:lstStyle>
          <a:p>
            <a:r>
              <a:rPr lang="fr-FR"/>
              <a:t>Sélectionner l’icône pour insérer une image format ( 70 x 52 mm)</a:t>
            </a:r>
          </a:p>
        </p:txBody>
      </p:sp>
      <p:sp>
        <p:nvSpPr>
          <p:cNvPr id="13" name="Espace réservé du texte 13"/>
          <p:cNvSpPr>
            <a:spLocks noGrp="1"/>
          </p:cNvSpPr>
          <p:nvPr>
            <p:ph type="body" sz="quarter" idx="16"/>
          </p:nvPr>
        </p:nvSpPr>
        <p:spPr bwMode="gray">
          <a:xfrm>
            <a:off x="538480" y="371793"/>
            <a:ext cx="8035290" cy="43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3200" b="0" i="0" cap="none" baseline="0">
                <a:solidFill>
                  <a:srgbClr val="71B304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03785866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ta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89" y="4813200"/>
            <a:ext cx="7669213" cy="162000"/>
          </a:xfrm>
          <a:prstGeom prst="rect">
            <a:avLst/>
          </a:prstGeom>
        </p:spPr>
        <p:txBody>
          <a:bodyPr/>
          <a:lstStyle/>
          <a:p>
            <a:fld id="{07C4D725-EF78-4ACC-8A50-1FC2BC16E560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>
          <a:xfrm>
            <a:off x="179389" y="4813200"/>
            <a:ext cx="360362" cy="162000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>
                <a:solidFill>
                  <a:prstClr val="white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3"/>
          </p:nvPr>
        </p:nvSpPr>
        <p:spPr bwMode="gray">
          <a:xfrm>
            <a:off x="539752" y="447675"/>
            <a:ext cx="8064500" cy="4032250"/>
          </a:xfrm>
          <a:prstGeom prst="rect">
            <a:avLst/>
          </a:prstGeom>
        </p:spPr>
        <p:txBody>
          <a:bodyPr anchor="ctr" anchorCtr="0"/>
          <a:lstStyle>
            <a:lvl1pPr marL="359892" indent="-359892">
              <a:lnSpc>
                <a:spcPct val="90000"/>
              </a:lnSpc>
              <a:spcBef>
                <a:spcPts val="3200"/>
              </a:spcBef>
              <a:buFont typeface="Avenir LT Std 65 Medium" pitchFamily="34" charset="0"/>
              <a:buChar char="+"/>
              <a:defRPr sz="2800" b="0" cap="all" baseline="0"/>
            </a:lvl1pPr>
            <a:lvl2pPr marL="359892">
              <a:lnSpc>
                <a:spcPct val="90000"/>
              </a:lnSpc>
              <a:spcAft>
                <a:spcPts val="0"/>
              </a:spcAft>
              <a:defRPr sz="1500" cap="all" baseline="0">
                <a:latin typeface="+mn-lt"/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62325590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r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539766" y="485802"/>
            <a:ext cx="8064499" cy="4651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539751" y="1743084"/>
            <a:ext cx="3960000" cy="2736851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>
          <a:xfrm>
            <a:off x="539789" y="4813200"/>
            <a:ext cx="7669213" cy="162000"/>
          </a:xfrm>
          <a:prstGeom prst="rect">
            <a:avLst/>
          </a:prstGeom>
        </p:spPr>
        <p:txBody>
          <a:bodyPr/>
          <a:lstStyle/>
          <a:p>
            <a:fld id="{C71674B5-A288-4E66-BD18-21196E1B2EB2}" type="datetime2">
              <a:rPr lang="fr-FR" smtClean="0">
                <a:solidFill>
                  <a:srgbClr val="3C3732"/>
                </a:solidFill>
              </a:rPr>
              <a:pPr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>
          <a:xfrm>
            <a:off x="179389" y="4813200"/>
            <a:ext cx="360362" cy="162000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>
                <a:solidFill>
                  <a:prstClr val="white">
                    <a:alpha val="0"/>
                  </a:prstClr>
                </a:solidFill>
              </a:rPr>
              <a:pPr/>
              <a:t>‹N°›</a:t>
            </a:fld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950913"/>
            <a:ext cx="4824000" cy="432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1400" b="0" cap="all" baseline="0">
                <a:solidFill>
                  <a:srgbClr val="747678"/>
                </a:solidFill>
                <a:latin typeface="+mn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Espace réservé du texte 13"/>
          <p:cNvSpPr>
            <a:spLocks noGrp="1"/>
          </p:cNvSpPr>
          <p:nvPr>
            <p:ph type="body" sz="quarter" idx="16"/>
          </p:nvPr>
        </p:nvSpPr>
        <p:spPr bwMode="gray">
          <a:xfrm>
            <a:off x="538480" y="371793"/>
            <a:ext cx="8035290" cy="432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3200" b="0" i="0" cap="none" baseline="0">
                <a:solidFill>
                  <a:srgbClr val="71B304"/>
                </a:solidFill>
                <a:latin typeface="Avenir LT Std 95 Black"/>
                <a:cs typeface="Avenir LT Std 95 Black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18540553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6" y="-1"/>
            <a:ext cx="9143481" cy="5143792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-1"/>
            <a:ext cx="9144000" cy="5143500"/>
          </a:xfrm>
          <a:prstGeom prst="rect">
            <a:avLst/>
          </a:prstGeom>
          <a:solidFill>
            <a:schemeClr val="tx1"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2" tIns="34289" rIns="68562" bIns="34289" rtlCol="0" anchor="ctr"/>
          <a:lstStyle/>
          <a:p>
            <a:pPr algn="ctr" defTabSz="685596"/>
            <a:endParaRPr lang="fr-FR" sz="1400">
              <a:solidFill>
                <a:prstClr val="white"/>
              </a:solidFill>
            </a:endParaRP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1" hasCustomPrompt="1"/>
          </p:nvPr>
        </p:nvSpPr>
        <p:spPr>
          <a:xfrm>
            <a:off x="801322" y="1903508"/>
            <a:ext cx="6272213" cy="1340563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4500">
                <a:solidFill>
                  <a:schemeClr val="bg1"/>
                </a:solidFill>
                <a:latin typeface="Avenir Light"/>
              </a:defRPr>
            </a:lvl1pPr>
          </a:lstStyle>
          <a:p>
            <a:pPr lvl="0"/>
            <a:r>
              <a:rPr lang="fr-FR"/>
              <a:t>Modifier le style du titr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2" hasCustomPrompt="1"/>
          </p:nvPr>
        </p:nvSpPr>
        <p:spPr>
          <a:xfrm>
            <a:off x="801322" y="3400828"/>
            <a:ext cx="6272213" cy="792956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2300">
                <a:solidFill>
                  <a:schemeClr val="bg1"/>
                </a:solidFill>
                <a:latin typeface="Avenir Light"/>
              </a:defRPr>
            </a:lvl1pPr>
          </a:lstStyle>
          <a:p>
            <a:pPr lvl="0"/>
            <a:r>
              <a:rPr lang="fr-FR"/>
              <a:t>Modifier le texte</a:t>
            </a:r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5414" y="4540931"/>
            <a:ext cx="457240" cy="452667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23528" y="4636975"/>
            <a:ext cx="502964" cy="260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332040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5"/>
          <p:cNvSpPr>
            <a:spLocks noGrp="1"/>
          </p:cNvSpPr>
          <p:nvPr>
            <p:ph type="body" sz="quarter" idx="11" hasCustomPrompt="1"/>
          </p:nvPr>
        </p:nvSpPr>
        <p:spPr>
          <a:xfrm>
            <a:off x="801322" y="1903508"/>
            <a:ext cx="6272213" cy="1340563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4500">
                <a:solidFill>
                  <a:schemeClr val="bg1"/>
                </a:solidFill>
                <a:latin typeface="Avenir Light"/>
              </a:defRPr>
            </a:lvl1pPr>
          </a:lstStyle>
          <a:p>
            <a:pPr lvl="0"/>
            <a:r>
              <a:rPr lang="fr-FR"/>
              <a:t>Modifier le style du titre</a:t>
            </a:r>
          </a:p>
        </p:txBody>
      </p:sp>
      <p:sp>
        <p:nvSpPr>
          <p:cNvPr id="5" name="Espace réservé du texte 7"/>
          <p:cNvSpPr>
            <a:spLocks noGrp="1"/>
          </p:cNvSpPr>
          <p:nvPr>
            <p:ph type="body" sz="quarter" idx="12" hasCustomPrompt="1"/>
          </p:nvPr>
        </p:nvSpPr>
        <p:spPr>
          <a:xfrm>
            <a:off x="801322" y="3400828"/>
            <a:ext cx="6272213" cy="792956"/>
          </a:xfrm>
          <a:prstGeom prst="rect">
            <a:avLst/>
          </a:prstGeom>
        </p:spPr>
        <p:txBody>
          <a:bodyPr lIns="68562" tIns="34289" rIns="68562" bIns="34289"/>
          <a:lstStyle>
            <a:lvl1pPr marL="0" indent="0">
              <a:buNone/>
              <a:defRPr sz="2300">
                <a:solidFill>
                  <a:schemeClr val="bg1"/>
                </a:solidFill>
                <a:latin typeface="Avenir Light"/>
              </a:defRPr>
            </a:lvl1pPr>
          </a:lstStyle>
          <a:p>
            <a:pPr lvl="0"/>
            <a:r>
              <a:rPr lang="fr-FR"/>
              <a:t>Modifier le texte</a:t>
            </a:r>
          </a:p>
        </p:txBody>
      </p:sp>
    </p:spTree>
    <p:extLst>
      <p:ext uri="{BB962C8B-B14F-4D97-AF65-F5344CB8AC3E}">
        <p14:creationId xmlns:p14="http://schemas.microsoft.com/office/powerpoint/2010/main" val="29866502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38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slideLayout" Target="../slideLayouts/slideLayout37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24" Type="http://schemas.openxmlformats.org/officeDocument/2006/relationships/slideLayout" Target="../slideLayouts/slideLayout41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23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27.xml"/><Relationship Id="rId19" Type="http://schemas.openxmlformats.org/officeDocument/2006/relationships/slideLayout" Target="../slideLayouts/slideLayout36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slideLayout" Target="../slideLayouts/slideLayout39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26" Type="http://schemas.openxmlformats.org/officeDocument/2006/relationships/slideLayout" Target="../slideLayouts/slideLayout67.xml"/><Relationship Id="rId21" Type="http://schemas.openxmlformats.org/officeDocument/2006/relationships/slideLayout" Target="../slideLayouts/slideLayout62.xml"/><Relationship Id="rId34" Type="http://schemas.openxmlformats.org/officeDocument/2006/relationships/slideLayout" Target="../slideLayouts/slideLayout75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5" Type="http://schemas.openxmlformats.org/officeDocument/2006/relationships/slideLayout" Target="../slideLayouts/slideLayout66.xml"/><Relationship Id="rId33" Type="http://schemas.openxmlformats.org/officeDocument/2006/relationships/slideLayout" Target="../slideLayouts/slideLayout74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slideLayout" Target="../slideLayouts/slideLayout61.xml"/><Relationship Id="rId29" Type="http://schemas.openxmlformats.org/officeDocument/2006/relationships/slideLayout" Target="../slideLayouts/slideLayout70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24" Type="http://schemas.openxmlformats.org/officeDocument/2006/relationships/slideLayout" Target="../slideLayouts/slideLayout65.xml"/><Relationship Id="rId32" Type="http://schemas.openxmlformats.org/officeDocument/2006/relationships/slideLayout" Target="../slideLayouts/slideLayout73.xml"/><Relationship Id="rId37" Type="http://schemas.openxmlformats.org/officeDocument/2006/relationships/image" Target="../media/image1.png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23" Type="http://schemas.openxmlformats.org/officeDocument/2006/relationships/slideLayout" Target="../slideLayouts/slideLayout64.xml"/><Relationship Id="rId28" Type="http://schemas.openxmlformats.org/officeDocument/2006/relationships/slideLayout" Target="../slideLayouts/slideLayout69.xml"/><Relationship Id="rId36" Type="http://schemas.openxmlformats.org/officeDocument/2006/relationships/image" Target="../media/image6.png"/><Relationship Id="rId10" Type="http://schemas.openxmlformats.org/officeDocument/2006/relationships/slideLayout" Target="../slideLayouts/slideLayout51.xml"/><Relationship Id="rId19" Type="http://schemas.openxmlformats.org/officeDocument/2006/relationships/slideLayout" Target="../slideLayouts/slideLayout60.xml"/><Relationship Id="rId31" Type="http://schemas.openxmlformats.org/officeDocument/2006/relationships/slideLayout" Target="../slideLayouts/slideLayout72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slideLayout" Target="../slideLayouts/slideLayout63.xml"/><Relationship Id="rId27" Type="http://schemas.openxmlformats.org/officeDocument/2006/relationships/slideLayout" Target="../slideLayouts/slideLayout68.xml"/><Relationship Id="rId30" Type="http://schemas.openxmlformats.org/officeDocument/2006/relationships/slideLayout" Target="../slideLayouts/slideLayout71.xml"/><Relationship Id="rId35" Type="http://schemas.openxmlformats.org/officeDocument/2006/relationships/theme" Target="../theme/theme3.xml"/><Relationship Id="rId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44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8.xml"/><Relationship Id="rId18" Type="http://schemas.openxmlformats.org/officeDocument/2006/relationships/slideLayout" Target="../slideLayouts/slideLayout93.xml"/><Relationship Id="rId26" Type="http://schemas.openxmlformats.org/officeDocument/2006/relationships/slideLayout" Target="../slideLayouts/slideLayout101.xml"/><Relationship Id="rId21" Type="http://schemas.openxmlformats.org/officeDocument/2006/relationships/slideLayout" Target="../slideLayouts/slideLayout96.xml"/><Relationship Id="rId34" Type="http://schemas.openxmlformats.org/officeDocument/2006/relationships/slideLayout" Target="../slideLayouts/slideLayout109.xml"/><Relationship Id="rId7" Type="http://schemas.openxmlformats.org/officeDocument/2006/relationships/slideLayout" Target="../slideLayouts/slideLayout82.xml"/><Relationship Id="rId12" Type="http://schemas.openxmlformats.org/officeDocument/2006/relationships/slideLayout" Target="../slideLayouts/slideLayout87.xml"/><Relationship Id="rId17" Type="http://schemas.openxmlformats.org/officeDocument/2006/relationships/slideLayout" Target="../slideLayouts/slideLayout92.xml"/><Relationship Id="rId25" Type="http://schemas.openxmlformats.org/officeDocument/2006/relationships/slideLayout" Target="../slideLayouts/slideLayout100.xml"/><Relationship Id="rId33" Type="http://schemas.openxmlformats.org/officeDocument/2006/relationships/slideLayout" Target="../slideLayouts/slideLayout108.xml"/><Relationship Id="rId38" Type="http://schemas.openxmlformats.org/officeDocument/2006/relationships/image" Target="../media/image1.png"/><Relationship Id="rId2" Type="http://schemas.openxmlformats.org/officeDocument/2006/relationships/slideLayout" Target="../slideLayouts/slideLayout77.xml"/><Relationship Id="rId16" Type="http://schemas.openxmlformats.org/officeDocument/2006/relationships/slideLayout" Target="../slideLayouts/slideLayout91.xml"/><Relationship Id="rId20" Type="http://schemas.openxmlformats.org/officeDocument/2006/relationships/slideLayout" Target="../slideLayouts/slideLayout95.xml"/><Relationship Id="rId29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24" Type="http://schemas.openxmlformats.org/officeDocument/2006/relationships/slideLayout" Target="../slideLayouts/slideLayout99.xml"/><Relationship Id="rId32" Type="http://schemas.openxmlformats.org/officeDocument/2006/relationships/slideLayout" Target="../slideLayouts/slideLayout107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80.xml"/><Relationship Id="rId15" Type="http://schemas.openxmlformats.org/officeDocument/2006/relationships/slideLayout" Target="../slideLayouts/slideLayout90.xml"/><Relationship Id="rId23" Type="http://schemas.openxmlformats.org/officeDocument/2006/relationships/slideLayout" Target="../slideLayouts/slideLayout98.xml"/><Relationship Id="rId28" Type="http://schemas.openxmlformats.org/officeDocument/2006/relationships/slideLayout" Target="../slideLayouts/slideLayout103.xml"/><Relationship Id="rId36" Type="http://schemas.openxmlformats.org/officeDocument/2006/relationships/theme" Target="../theme/theme4.xml"/><Relationship Id="rId10" Type="http://schemas.openxmlformats.org/officeDocument/2006/relationships/slideLayout" Target="../slideLayouts/slideLayout85.xml"/><Relationship Id="rId19" Type="http://schemas.openxmlformats.org/officeDocument/2006/relationships/slideLayout" Target="../slideLayouts/slideLayout94.xml"/><Relationship Id="rId31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4" Type="http://schemas.openxmlformats.org/officeDocument/2006/relationships/slideLayout" Target="../slideLayouts/slideLayout89.xml"/><Relationship Id="rId22" Type="http://schemas.openxmlformats.org/officeDocument/2006/relationships/slideLayout" Target="../slideLayouts/slideLayout97.xml"/><Relationship Id="rId27" Type="http://schemas.openxmlformats.org/officeDocument/2006/relationships/slideLayout" Target="../slideLayouts/slideLayout102.xml"/><Relationship Id="rId30" Type="http://schemas.openxmlformats.org/officeDocument/2006/relationships/slideLayout" Target="../slideLayouts/slideLayout105.xml"/><Relationship Id="rId35" Type="http://schemas.openxmlformats.org/officeDocument/2006/relationships/slideLayout" Target="../slideLayouts/slideLayout110.xml"/><Relationship Id="rId8" Type="http://schemas.openxmlformats.org/officeDocument/2006/relationships/slideLayout" Target="../slideLayouts/slideLayout83.xml"/><Relationship Id="rId3" Type="http://schemas.openxmlformats.org/officeDocument/2006/relationships/slideLayout" Target="../slideLayouts/slideLayout7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8.xml"/><Relationship Id="rId13" Type="http://schemas.openxmlformats.org/officeDocument/2006/relationships/slideLayout" Target="../slideLayouts/slideLayout123.xml"/><Relationship Id="rId18" Type="http://schemas.openxmlformats.org/officeDocument/2006/relationships/slideLayout" Target="../slideLayouts/slideLayout128.xml"/><Relationship Id="rId26" Type="http://schemas.openxmlformats.org/officeDocument/2006/relationships/image" Target="../media/image17.png"/><Relationship Id="rId3" Type="http://schemas.openxmlformats.org/officeDocument/2006/relationships/slideLayout" Target="../slideLayouts/slideLayout113.xml"/><Relationship Id="rId21" Type="http://schemas.openxmlformats.org/officeDocument/2006/relationships/slideLayout" Target="../slideLayouts/slideLayout131.xml"/><Relationship Id="rId7" Type="http://schemas.openxmlformats.org/officeDocument/2006/relationships/slideLayout" Target="../slideLayouts/slideLayout117.xml"/><Relationship Id="rId12" Type="http://schemas.openxmlformats.org/officeDocument/2006/relationships/slideLayout" Target="../slideLayouts/slideLayout122.xml"/><Relationship Id="rId17" Type="http://schemas.openxmlformats.org/officeDocument/2006/relationships/slideLayout" Target="../slideLayouts/slideLayout127.xml"/><Relationship Id="rId25" Type="http://schemas.openxmlformats.org/officeDocument/2006/relationships/theme" Target="../theme/theme5.xml"/><Relationship Id="rId2" Type="http://schemas.openxmlformats.org/officeDocument/2006/relationships/slideLayout" Target="../slideLayouts/slideLayout112.xml"/><Relationship Id="rId16" Type="http://schemas.openxmlformats.org/officeDocument/2006/relationships/slideLayout" Target="../slideLayouts/slideLayout126.xml"/><Relationship Id="rId20" Type="http://schemas.openxmlformats.org/officeDocument/2006/relationships/slideLayout" Target="../slideLayouts/slideLayout130.xml"/><Relationship Id="rId1" Type="http://schemas.openxmlformats.org/officeDocument/2006/relationships/slideLayout" Target="../slideLayouts/slideLayout111.xml"/><Relationship Id="rId6" Type="http://schemas.openxmlformats.org/officeDocument/2006/relationships/slideLayout" Target="../slideLayouts/slideLayout116.xml"/><Relationship Id="rId11" Type="http://schemas.openxmlformats.org/officeDocument/2006/relationships/slideLayout" Target="../slideLayouts/slideLayout121.xml"/><Relationship Id="rId24" Type="http://schemas.openxmlformats.org/officeDocument/2006/relationships/slideLayout" Target="../slideLayouts/slideLayout134.xml"/><Relationship Id="rId5" Type="http://schemas.openxmlformats.org/officeDocument/2006/relationships/slideLayout" Target="../slideLayouts/slideLayout115.xml"/><Relationship Id="rId15" Type="http://schemas.openxmlformats.org/officeDocument/2006/relationships/slideLayout" Target="../slideLayouts/slideLayout125.xml"/><Relationship Id="rId23" Type="http://schemas.openxmlformats.org/officeDocument/2006/relationships/slideLayout" Target="../slideLayouts/slideLayout133.xml"/><Relationship Id="rId10" Type="http://schemas.openxmlformats.org/officeDocument/2006/relationships/slideLayout" Target="../slideLayouts/slideLayout120.xml"/><Relationship Id="rId19" Type="http://schemas.openxmlformats.org/officeDocument/2006/relationships/slideLayout" Target="../slideLayouts/slideLayout129.xml"/><Relationship Id="rId4" Type="http://schemas.openxmlformats.org/officeDocument/2006/relationships/slideLayout" Target="../slideLayouts/slideLayout114.xml"/><Relationship Id="rId9" Type="http://schemas.openxmlformats.org/officeDocument/2006/relationships/slideLayout" Target="../slideLayouts/slideLayout119.xml"/><Relationship Id="rId14" Type="http://schemas.openxmlformats.org/officeDocument/2006/relationships/slideLayout" Target="../slideLayouts/slideLayout124.xml"/><Relationship Id="rId22" Type="http://schemas.openxmlformats.org/officeDocument/2006/relationships/slideLayout" Target="../slideLayouts/slideLayout13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.xml"/><Relationship Id="rId13" Type="http://schemas.openxmlformats.org/officeDocument/2006/relationships/slideLayout" Target="../slideLayouts/slideLayout147.xml"/><Relationship Id="rId18" Type="http://schemas.openxmlformats.org/officeDocument/2006/relationships/slideLayout" Target="../slideLayouts/slideLayout152.xml"/><Relationship Id="rId26" Type="http://schemas.openxmlformats.org/officeDocument/2006/relationships/theme" Target="../theme/theme6.xml"/><Relationship Id="rId3" Type="http://schemas.openxmlformats.org/officeDocument/2006/relationships/slideLayout" Target="../slideLayouts/slideLayout137.xml"/><Relationship Id="rId21" Type="http://schemas.openxmlformats.org/officeDocument/2006/relationships/slideLayout" Target="../slideLayouts/slideLayout155.xml"/><Relationship Id="rId7" Type="http://schemas.openxmlformats.org/officeDocument/2006/relationships/slideLayout" Target="../slideLayouts/slideLayout141.xml"/><Relationship Id="rId12" Type="http://schemas.openxmlformats.org/officeDocument/2006/relationships/slideLayout" Target="../slideLayouts/slideLayout146.xml"/><Relationship Id="rId17" Type="http://schemas.openxmlformats.org/officeDocument/2006/relationships/slideLayout" Target="../slideLayouts/slideLayout151.xml"/><Relationship Id="rId25" Type="http://schemas.openxmlformats.org/officeDocument/2006/relationships/slideLayout" Target="../slideLayouts/slideLayout159.xml"/><Relationship Id="rId2" Type="http://schemas.openxmlformats.org/officeDocument/2006/relationships/slideLayout" Target="../slideLayouts/slideLayout136.xml"/><Relationship Id="rId16" Type="http://schemas.openxmlformats.org/officeDocument/2006/relationships/slideLayout" Target="../slideLayouts/slideLayout150.xml"/><Relationship Id="rId20" Type="http://schemas.openxmlformats.org/officeDocument/2006/relationships/slideLayout" Target="../slideLayouts/slideLayout154.x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1" Type="http://schemas.openxmlformats.org/officeDocument/2006/relationships/slideLayout" Target="../slideLayouts/slideLayout145.xml"/><Relationship Id="rId24" Type="http://schemas.openxmlformats.org/officeDocument/2006/relationships/slideLayout" Target="../slideLayouts/slideLayout158.xml"/><Relationship Id="rId5" Type="http://schemas.openxmlformats.org/officeDocument/2006/relationships/slideLayout" Target="../slideLayouts/slideLayout139.xml"/><Relationship Id="rId15" Type="http://schemas.openxmlformats.org/officeDocument/2006/relationships/slideLayout" Target="../slideLayouts/slideLayout149.xml"/><Relationship Id="rId23" Type="http://schemas.openxmlformats.org/officeDocument/2006/relationships/slideLayout" Target="../slideLayouts/slideLayout157.xml"/><Relationship Id="rId10" Type="http://schemas.openxmlformats.org/officeDocument/2006/relationships/slideLayout" Target="../slideLayouts/slideLayout144.xml"/><Relationship Id="rId19" Type="http://schemas.openxmlformats.org/officeDocument/2006/relationships/slideLayout" Target="../slideLayouts/slideLayout153.xml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Relationship Id="rId14" Type="http://schemas.openxmlformats.org/officeDocument/2006/relationships/slideLayout" Target="../slideLayouts/slideLayout148.xml"/><Relationship Id="rId22" Type="http://schemas.openxmlformats.org/officeDocument/2006/relationships/slideLayout" Target="../slideLayouts/slideLayout156.xml"/><Relationship Id="rId27" Type="http://schemas.openxmlformats.org/officeDocument/2006/relationships/image" Target="../media/image17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7.xml"/><Relationship Id="rId13" Type="http://schemas.openxmlformats.org/officeDocument/2006/relationships/theme" Target="../theme/theme7.xml"/><Relationship Id="rId18" Type="http://schemas.openxmlformats.org/officeDocument/2006/relationships/tags" Target="../tags/tag8.xml"/><Relationship Id="rId3" Type="http://schemas.openxmlformats.org/officeDocument/2006/relationships/slideLayout" Target="../slideLayouts/slideLayout162.xml"/><Relationship Id="rId21" Type="http://schemas.openxmlformats.org/officeDocument/2006/relationships/image" Target="../media/image19.emf"/><Relationship Id="rId7" Type="http://schemas.openxmlformats.org/officeDocument/2006/relationships/slideLayout" Target="../slideLayouts/slideLayout166.xml"/><Relationship Id="rId12" Type="http://schemas.openxmlformats.org/officeDocument/2006/relationships/slideLayout" Target="../slideLayouts/slideLayout171.xml"/><Relationship Id="rId17" Type="http://schemas.openxmlformats.org/officeDocument/2006/relationships/tags" Target="../tags/tag7.xml"/><Relationship Id="rId2" Type="http://schemas.openxmlformats.org/officeDocument/2006/relationships/slideLayout" Target="../slideLayouts/slideLayout161.xml"/><Relationship Id="rId16" Type="http://schemas.openxmlformats.org/officeDocument/2006/relationships/tags" Target="../tags/tag6.xml"/><Relationship Id="rId20" Type="http://schemas.openxmlformats.org/officeDocument/2006/relationships/oleObject" Target="../embeddings/oleObject5.bin"/><Relationship Id="rId1" Type="http://schemas.openxmlformats.org/officeDocument/2006/relationships/slideLayout" Target="../slideLayouts/slideLayout160.xml"/><Relationship Id="rId6" Type="http://schemas.openxmlformats.org/officeDocument/2006/relationships/slideLayout" Target="../slideLayouts/slideLayout165.xml"/><Relationship Id="rId11" Type="http://schemas.openxmlformats.org/officeDocument/2006/relationships/slideLayout" Target="../slideLayouts/slideLayout170.xml"/><Relationship Id="rId5" Type="http://schemas.openxmlformats.org/officeDocument/2006/relationships/slideLayout" Target="../slideLayouts/slideLayout164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169.xml"/><Relationship Id="rId19" Type="http://schemas.openxmlformats.org/officeDocument/2006/relationships/tags" Target="../tags/tag9.xml"/><Relationship Id="rId4" Type="http://schemas.openxmlformats.org/officeDocument/2006/relationships/slideLayout" Target="../slideLayouts/slideLayout163.xml"/><Relationship Id="rId9" Type="http://schemas.openxmlformats.org/officeDocument/2006/relationships/slideLayout" Target="../slideLayouts/slideLayout168.xml"/><Relationship Id="rId14" Type="http://schemas.openxmlformats.org/officeDocument/2006/relationships/vmlDrawing" Target="../drawings/vmlDrawing5.vml"/><Relationship Id="rId22" Type="http://schemas.openxmlformats.org/officeDocument/2006/relationships/image" Target="../media/image20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9.xml"/><Relationship Id="rId13" Type="http://schemas.openxmlformats.org/officeDocument/2006/relationships/slideLayout" Target="../slideLayouts/slideLayout184.xml"/><Relationship Id="rId18" Type="http://schemas.openxmlformats.org/officeDocument/2006/relationships/slideLayout" Target="../slideLayouts/slideLayout189.xml"/><Relationship Id="rId26" Type="http://schemas.openxmlformats.org/officeDocument/2006/relationships/oleObject" Target="../embeddings/oleObject24.bin"/><Relationship Id="rId3" Type="http://schemas.openxmlformats.org/officeDocument/2006/relationships/slideLayout" Target="../slideLayouts/slideLayout174.xml"/><Relationship Id="rId21" Type="http://schemas.openxmlformats.org/officeDocument/2006/relationships/slideLayout" Target="../slideLayouts/slideLayout192.xml"/><Relationship Id="rId7" Type="http://schemas.openxmlformats.org/officeDocument/2006/relationships/slideLayout" Target="../slideLayouts/slideLayout178.xml"/><Relationship Id="rId12" Type="http://schemas.openxmlformats.org/officeDocument/2006/relationships/slideLayout" Target="../slideLayouts/slideLayout183.xml"/><Relationship Id="rId17" Type="http://schemas.openxmlformats.org/officeDocument/2006/relationships/slideLayout" Target="../slideLayouts/slideLayout188.xml"/><Relationship Id="rId25" Type="http://schemas.openxmlformats.org/officeDocument/2006/relationships/tags" Target="../tags/tag48.xml"/><Relationship Id="rId2" Type="http://schemas.openxmlformats.org/officeDocument/2006/relationships/slideLayout" Target="../slideLayouts/slideLayout173.xml"/><Relationship Id="rId16" Type="http://schemas.openxmlformats.org/officeDocument/2006/relationships/slideLayout" Target="../slideLayouts/slideLayout187.xml"/><Relationship Id="rId20" Type="http://schemas.openxmlformats.org/officeDocument/2006/relationships/slideLayout" Target="../slideLayouts/slideLayout191.xml"/><Relationship Id="rId1" Type="http://schemas.openxmlformats.org/officeDocument/2006/relationships/slideLayout" Target="../slideLayouts/slideLayout172.xml"/><Relationship Id="rId6" Type="http://schemas.openxmlformats.org/officeDocument/2006/relationships/slideLayout" Target="../slideLayouts/slideLayout177.xml"/><Relationship Id="rId11" Type="http://schemas.openxmlformats.org/officeDocument/2006/relationships/slideLayout" Target="../slideLayouts/slideLayout182.xml"/><Relationship Id="rId24" Type="http://schemas.openxmlformats.org/officeDocument/2006/relationships/vmlDrawing" Target="../drawings/vmlDrawing15.vml"/><Relationship Id="rId5" Type="http://schemas.openxmlformats.org/officeDocument/2006/relationships/slideLayout" Target="../slideLayouts/slideLayout176.xml"/><Relationship Id="rId15" Type="http://schemas.openxmlformats.org/officeDocument/2006/relationships/slideLayout" Target="../slideLayouts/slideLayout186.xml"/><Relationship Id="rId23" Type="http://schemas.openxmlformats.org/officeDocument/2006/relationships/theme" Target="../theme/theme8.xml"/><Relationship Id="rId28" Type="http://schemas.openxmlformats.org/officeDocument/2006/relationships/image" Target="../media/image17.png"/><Relationship Id="rId10" Type="http://schemas.openxmlformats.org/officeDocument/2006/relationships/slideLayout" Target="../slideLayouts/slideLayout181.xml"/><Relationship Id="rId19" Type="http://schemas.openxmlformats.org/officeDocument/2006/relationships/slideLayout" Target="../slideLayouts/slideLayout190.xml"/><Relationship Id="rId4" Type="http://schemas.openxmlformats.org/officeDocument/2006/relationships/slideLayout" Target="../slideLayouts/slideLayout175.xml"/><Relationship Id="rId9" Type="http://schemas.openxmlformats.org/officeDocument/2006/relationships/slideLayout" Target="../slideLayouts/slideLayout180.xml"/><Relationship Id="rId14" Type="http://schemas.openxmlformats.org/officeDocument/2006/relationships/slideLayout" Target="../slideLayouts/slideLayout185.xml"/><Relationship Id="rId22" Type="http://schemas.openxmlformats.org/officeDocument/2006/relationships/slideLayout" Target="../slideLayouts/slideLayout193.xml"/><Relationship Id="rId27" Type="http://schemas.openxmlformats.org/officeDocument/2006/relationships/image" Target="../media/image2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5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Cliquez et modifiez le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20"/>
            <a:ext cx="7886700" cy="32635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7" name="Image 6" descr="Logotype-e.SNCF.png"/>
          <p:cNvPicPr>
            <a:picLocks noChangeAspect="1"/>
          </p:cNvPicPr>
          <p:nvPr userDrawn="1"/>
        </p:nvPicPr>
        <p:blipFill rotWithShape="1"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748" b="28010"/>
          <a:stretch/>
        </p:blipFill>
        <p:spPr>
          <a:xfrm>
            <a:off x="547330" y="4653037"/>
            <a:ext cx="635370" cy="123444"/>
          </a:xfrm>
          <a:prstGeom prst="rect">
            <a:avLst/>
          </a:prstGeom>
        </p:spPr>
      </p:pic>
      <p:sp>
        <p:nvSpPr>
          <p:cNvPr id="8" name="Espace réservé du numéro de diapositive 5"/>
          <p:cNvSpPr txBox="1">
            <a:spLocks/>
          </p:cNvSpPr>
          <p:nvPr userDrawn="1"/>
        </p:nvSpPr>
        <p:spPr bwMode="gray">
          <a:xfrm>
            <a:off x="179389" y="4813200"/>
            <a:ext cx="360362" cy="16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lnSpc>
                <a:spcPct val="114000"/>
              </a:lnSpc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9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539789" y="4813200"/>
            <a:ext cx="7669213" cy="16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lnSpc>
                <a:spcPct val="114000"/>
              </a:lnSpc>
              <a:defRPr sz="800" cap="none" baseline="0">
                <a:solidFill>
                  <a:schemeClr val="tx1"/>
                </a:solidFill>
              </a:defRPr>
            </a:lvl1pPr>
          </a:lstStyle>
          <a:p>
            <a:pPr defTabSz="914130"/>
            <a:fld id="{E024BBF2-2E57-4FDD-B47A-A86B360BD2E6}" type="datetime2">
              <a:rPr lang="fr-FR" smtClean="0">
                <a:solidFill>
                  <a:srgbClr val="3C3732"/>
                </a:solidFill>
              </a:rPr>
              <a:pPr defTabSz="914130"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4" name="MSIPCMContentMarking" descr="{&quot;HashCode&quot;:902745191,&quot;Placement&quot;:&quot;Footer&quot;,&quot;Top&quot;:384.343,&quot;Left&quot;:0.0,&quot;SlideWidth&quot;:720,&quot;SlideHeight&quot;:405}">
            <a:extLst>
              <a:ext uri="{FF2B5EF4-FFF2-40B4-BE49-F238E27FC236}">
                <a16:creationId xmlns:a16="http://schemas.microsoft.com/office/drawing/2014/main" id="{69A82A88-E58E-4265-9F9A-DEA92870CD72}"/>
              </a:ext>
            </a:extLst>
          </p:cNvPr>
          <p:cNvSpPr txBox="1"/>
          <p:nvPr userDrawn="1"/>
        </p:nvSpPr>
        <p:spPr>
          <a:xfrm>
            <a:off x="0" y="4881156"/>
            <a:ext cx="650765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fr-FR" sz="1000">
                <a:solidFill>
                  <a:srgbClr val="008000"/>
                </a:solidFill>
                <a:latin typeface="Calibri" panose="020F0502020204030204" pitchFamily="34" charset="0"/>
              </a:rPr>
              <a:t>Interne</a:t>
            </a:r>
          </a:p>
        </p:txBody>
      </p:sp>
    </p:spTree>
    <p:extLst>
      <p:ext uri="{BB962C8B-B14F-4D97-AF65-F5344CB8AC3E}">
        <p14:creationId xmlns:p14="http://schemas.microsoft.com/office/powerpoint/2010/main" val="8164710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15" r:id="rId12"/>
    <p:sldLayoutId id="2147483997" r:id="rId13"/>
    <p:sldLayoutId id="2147484001" r:id="rId14"/>
    <p:sldLayoutId id="2147484002" r:id="rId15"/>
    <p:sldLayoutId id="2147484003" r:id="rId16"/>
    <p:sldLayoutId id="2147484004" r:id="rId17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539752" y="485778"/>
            <a:ext cx="8064500" cy="46513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r-FR" noProof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539752" y="1743077"/>
            <a:ext cx="8064500" cy="273685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4" name="MSIPCMContentMarking" descr="{&quot;HashCode&quot;:902745191,&quot;Placement&quot;:&quot;Footer&quot;,&quot;Top&quot;:384.343,&quot;Left&quot;:0.0,&quot;SlideWidth&quot;:720,&quot;SlideHeight&quot;:405}">
            <a:extLst>
              <a:ext uri="{FF2B5EF4-FFF2-40B4-BE49-F238E27FC236}">
                <a16:creationId xmlns:a16="http://schemas.microsoft.com/office/drawing/2014/main" id="{9452D052-3C19-40E0-853D-A314B49666DE}"/>
              </a:ext>
            </a:extLst>
          </p:cNvPr>
          <p:cNvSpPr txBox="1"/>
          <p:nvPr userDrawn="1"/>
        </p:nvSpPr>
        <p:spPr>
          <a:xfrm>
            <a:off x="0" y="4881156"/>
            <a:ext cx="650765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fr-FR" sz="1000">
                <a:solidFill>
                  <a:srgbClr val="008000"/>
                </a:solidFill>
                <a:latin typeface="Calibri" panose="020F0502020204030204" pitchFamily="34" charset="0"/>
              </a:rPr>
              <a:t>Interne</a:t>
            </a:r>
          </a:p>
        </p:txBody>
      </p:sp>
    </p:spTree>
    <p:extLst>
      <p:ext uri="{BB962C8B-B14F-4D97-AF65-F5344CB8AC3E}">
        <p14:creationId xmlns:p14="http://schemas.microsoft.com/office/powerpoint/2010/main" val="3340035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  <p:sldLayoutId id="2147483728" r:id="rId12"/>
    <p:sldLayoutId id="2147483729" r:id="rId13"/>
    <p:sldLayoutId id="2147483730" r:id="rId14"/>
    <p:sldLayoutId id="2147483731" r:id="rId15"/>
    <p:sldLayoutId id="2147483732" r:id="rId16"/>
    <p:sldLayoutId id="2147483733" r:id="rId17"/>
    <p:sldLayoutId id="2147483734" r:id="rId18"/>
    <p:sldLayoutId id="2147483735" r:id="rId19"/>
    <p:sldLayoutId id="2147483736" r:id="rId20"/>
    <p:sldLayoutId id="2147483738" r:id="rId21"/>
    <p:sldLayoutId id="2147483739" r:id="rId22"/>
    <p:sldLayoutId id="2147483740" r:id="rId23"/>
    <p:sldLayoutId id="2147483741" r:id="rId24"/>
  </p:sldLayoutIdLst>
  <p:hf hdr="0"/>
  <p:txStyles>
    <p:titleStyle>
      <a:lvl1pPr algn="l" defTabSz="914368" rtl="0" eaLnBrk="1" latinLnBrk="0" hangingPunct="1">
        <a:lnSpc>
          <a:spcPct val="90000"/>
        </a:lnSpc>
        <a:spcBef>
          <a:spcPct val="0"/>
        </a:spcBef>
        <a:buNone/>
        <a:defRPr sz="3200" b="0" kern="1200" cap="all" baseline="0">
          <a:solidFill>
            <a:schemeClr val="accent1"/>
          </a:solidFill>
          <a:latin typeface="Avenir LT Std 65 Medium" pitchFamily="34" charset="0"/>
          <a:ea typeface="+mj-ea"/>
          <a:cs typeface="+mj-cs"/>
        </a:defRPr>
      </a:lvl1pPr>
    </p:titleStyle>
    <p:bodyStyle>
      <a:lvl1pPr marL="0" indent="0" algn="l" defTabSz="914368" rtl="0" eaLnBrk="1" latinLnBrk="0" hangingPunct="1">
        <a:lnSpc>
          <a:spcPct val="100000"/>
        </a:lnSpc>
        <a:spcBef>
          <a:spcPts val="0"/>
        </a:spcBef>
        <a:spcAft>
          <a:spcPts val="500"/>
        </a:spcAft>
        <a:buFont typeface="Arial" pitchFamily="34" charset="0"/>
        <a:buNone/>
        <a:defRPr sz="1300" b="1" kern="1200">
          <a:solidFill>
            <a:schemeClr val="accent1"/>
          </a:solidFill>
          <a:latin typeface="Avenir LT Std 65 Medium" pitchFamily="34" charset="0"/>
          <a:ea typeface="+mn-ea"/>
          <a:cs typeface="+mn-cs"/>
        </a:defRPr>
      </a:lvl1pPr>
      <a:lvl2pPr marL="0" indent="0" algn="l" defTabSz="914368" rtl="0" eaLnBrk="1" latinLnBrk="0" hangingPunct="1">
        <a:lnSpc>
          <a:spcPct val="100000"/>
        </a:lnSpc>
        <a:spcBef>
          <a:spcPts val="0"/>
        </a:spcBef>
        <a:spcAft>
          <a:spcPts val="500"/>
        </a:spcAft>
        <a:buFont typeface="Arial" pitchFamily="34" charset="0"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143995" indent="-143995" algn="l" defTabSz="914368" rtl="0" eaLnBrk="1" latinLnBrk="0" hangingPunct="1">
        <a:lnSpc>
          <a:spcPct val="100000"/>
        </a:lnSpc>
        <a:spcBef>
          <a:spcPts val="0"/>
        </a:spcBef>
        <a:spcAft>
          <a:spcPts val="500"/>
        </a:spcAft>
        <a:buClr>
          <a:schemeClr val="accent1"/>
        </a:buClr>
        <a:buSzPct val="100000"/>
        <a:buFont typeface="Avenir LT Std 65 Medium" pitchFamily="34" charset="0"/>
        <a:buChar char="+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215992" indent="-71997" algn="l" defTabSz="914368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SzPct val="75000"/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15992" indent="0" algn="l" defTabSz="914368" rtl="0" eaLnBrk="1" latinLnBrk="0" hangingPunct="1">
        <a:lnSpc>
          <a:spcPct val="100000"/>
        </a:lnSpc>
        <a:spcBef>
          <a:spcPts val="0"/>
        </a:spcBef>
        <a:buSzPct val="100000"/>
        <a:buFont typeface="Arial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14" indent="-228592" algn="l" defTabSz="91436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9" indent="-228592" algn="l" defTabSz="91436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83" indent="-228592" algn="l" defTabSz="91436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8" indent="-228592" algn="l" defTabSz="91436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5" algn="l" defTabSz="9143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8" algn="l" defTabSz="9143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4" algn="l" defTabSz="9143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8" algn="l" defTabSz="9143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22" algn="l" defTabSz="9143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6" algn="l" defTabSz="9143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92" algn="l" defTabSz="9143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75" algn="l" defTabSz="9143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1" y="4920853"/>
            <a:ext cx="179388" cy="21609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noProof="0"/>
              <a:t>T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-793" y="4920879"/>
            <a:ext cx="180181" cy="2226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defTabSz="914130"/>
            <a:fld id="{733122C9-A0B9-462F-8757-0847AD287B63}" type="slidenum">
              <a:rPr lang="fr-FR" smtClean="0">
                <a:solidFill>
                  <a:prstClr val="white">
                    <a:alpha val="0"/>
                  </a:prstClr>
                </a:solidFill>
              </a:rPr>
              <a:pPr defTabSz="914130"/>
              <a:t>‹N°›</a:t>
            </a:fld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pic>
        <p:nvPicPr>
          <p:cNvPr id="13" name="Image 12" descr="logo_sncf.png"/>
          <p:cNvPicPr>
            <a:picLocks noChangeAspect="1"/>
          </p:cNvPicPr>
          <p:nvPr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6218" y="4322050"/>
            <a:ext cx="792000" cy="792000"/>
          </a:xfrm>
          <a:prstGeom prst="rect">
            <a:avLst/>
          </a:prstGeom>
        </p:spPr>
      </p:pic>
      <p:pic>
        <p:nvPicPr>
          <p:cNvPr id="10" name="Image 9" descr="Logotype-e.SNCF.png"/>
          <p:cNvPicPr>
            <a:picLocks noChangeAspect="1"/>
          </p:cNvPicPr>
          <p:nvPr/>
        </p:nvPicPr>
        <p:blipFill rotWithShape="1">
          <a:blip r:embed="rId3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748" b="28010"/>
          <a:stretch/>
        </p:blipFill>
        <p:spPr>
          <a:xfrm>
            <a:off x="547330" y="4653037"/>
            <a:ext cx="635370" cy="123444"/>
          </a:xfrm>
          <a:prstGeom prst="rect">
            <a:avLst/>
          </a:prstGeom>
        </p:spPr>
      </p:pic>
      <p:sp>
        <p:nvSpPr>
          <p:cNvPr id="14" name="Espace réservé du titre 1"/>
          <p:cNvSpPr txBox="1">
            <a:spLocks/>
          </p:cNvSpPr>
          <p:nvPr/>
        </p:nvSpPr>
        <p:spPr bwMode="gray">
          <a:xfrm>
            <a:off x="539766" y="485802"/>
            <a:ext cx="8064499" cy="46513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00" b="0" kern="1200" cap="all" baseline="0">
                <a:solidFill>
                  <a:schemeClr val="bg1">
                    <a:alpha val="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err="1">
                <a:solidFill>
                  <a:prstClr val="white">
                    <a:alpha val="0"/>
                  </a:prstClr>
                </a:solidFill>
              </a:rPr>
              <a:t>TitrettdozaeTi</a:t>
            </a:r>
            <a:r>
              <a:rPr lang="fr-FR">
                <a:solidFill>
                  <a:prstClr val="white">
                    <a:alpha val="0"/>
                  </a:prstClr>
                </a:solidFill>
              </a:rPr>
              <a:t> »</a:t>
            </a:r>
            <a:r>
              <a:rPr lang="fr-FR" err="1">
                <a:solidFill>
                  <a:prstClr val="white">
                    <a:alpha val="0"/>
                  </a:prstClr>
                </a:solidFill>
              </a:rPr>
              <a:t>fiuahc</a:t>
            </a:r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15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539766" y="1743084"/>
            <a:ext cx="8064499" cy="273685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18" name="Espace réservé du numéro de diapositive 5"/>
          <p:cNvSpPr txBox="1">
            <a:spLocks/>
          </p:cNvSpPr>
          <p:nvPr/>
        </p:nvSpPr>
        <p:spPr bwMode="gray">
          <a:xfrm>
            <a:off x="179389" y="4813200"/>
            <a:ext cx="360362" cy="16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lnSpc>
                <a:spcPct val="114000"/>
              </a:lnSpc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19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539789" y="4813200"/>
            <a:ext cx="7669213" cy="16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lnSpc>
                <a:spcPct val="114000"/>
              </a:lnSpc>
              <a:defRPr sz="800" cap="none" baseline="0">
                <a:solidFill>
                  <a:schemeClr val="tx1"/>
                </a:solidFill>
              </a:defRPr>
            </a:lvl1pPr>
          </a:lstStyle>
          <a:p>
            <a:pPr defTabSz="914130"/>
            <a:fld id="{E024BBF2-2E57-4FDD-B47A-A86B360BD2E6}" type="datetime2">
              <a:rPr lang="fr-FR" smtClean="0">
                <a:solidFill>
                  <a:srgbClr val="3C3732"/>
                </a:solidFill>
              </a:rPr>
              <a:pPr defTabSz="914130"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20" name="Rectangle 19"/>
          <p:cNvSpPr/>
          <p:nvPr/>
        </p:nvSpPr>
        <p:spPr bwMode="gray">
          <a:xfrm>
            <a:off x="394094" y="4813200"/>
            <a:ext cx="144000" cy="16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 defTabSz="914130">
              <a:lnSpc>
                <a:spcPct val="114000"/>
              </a:lnSpc>
            </a:pPr>
            <a:r>
              <a:rPr lang="fr-FR" sz="800" b="1">
                <a:solidFill>
                  <a:srgbClr val="3C3732"/>
                </a:solidFill>
              </a:rPr>
              <a:t>–</a:t>
            </a:r>
          </a:p>
        </p:txBody>
      </p:sp>
      <p:sp>
        <p:nvSpPr>
          <p:cNvPr id="3" name="MSIPCMContentMarking" descr="{&quot;HashCode&quot;:902745191,&quot;Placement&quot;:&quot;Footer&quot;,&quot;Top&quot;:384.343,&quot;Left&quot;:0.0,&quot;SlideWidth&quot;:720,&quot;SlideHeight&quot;:405}">
            <a:extLst>
              <a:ext uri="{FF2B5EF4-FFF2-40B4-BE49-F238E27FC236}">
                <a16:creationId xmlns:a16="http://schemas.microsoft.com/office/drawing/2014/main" id="{B8D87C1E-4280-4EF8-9DD1-661461628592}"/>
              </a:ext>
            </a:extLst>
          </p:cNvPr>
          <p:cNvSpPr txBox="1"/>
          <p:nvPr userDrawn="1"/>
        </p:nvSpPr>
        <p:spPr>
          <a:xfrm>
            <a:off x="0" y="4881156"/>
            <a:ext cx="650765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fr-FR" sz="1000">
                <a:solidFill>
                  <a:srgbClr val="008000"/>
                </a:solidFill>
                <a:latin typeface="Calibri" panose="020F0502020204030204" pitchFamily="34" charset="0"/>
              </a:rPr>
              <a:t>Interne</a:t>
            </a:r>
          </a:p>
        </p:txBody>
      </p:sp>
    </p:spTree>
    <p:extLst>
      <p:ext uri="{BB962C8B-B14F-4D97-AF65-F5344CB8AC3E}">
        <p14:creationId xmlns:p14="http://schemas.microsoft.com/office/powerpoint/2010/main" val="9868778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59" r:id="rId14"/>
    <p:sldLayoutId id="2147483760" r:id="rId15"/>
    <p:sldLayoutId id="2147483761" r:id="rId16"/>
    <p:sldLayoutId id="2147483762" r:id="rId17"/>
    <p:sldLayoutId id="2147483763" r:id="rId18"/>
    <p:sldLayoutId id="2147483764" r:id="rId19"/>
    <p:sldLayoutId id="2147483765" r:id="rId20"/>
    <p:sldLayoutId id="2147483766" r:id="rId21"/>
    <p:sldLayoutId id="2147483767" r:id="rId22"/>
    <p:sldLayoutId id="2147483768" r:id="rId23"/>
    <p:sldLayoutId id="2147483769" r:id="rId24"/>
    <p:sldLayoutId id="2147483770" r:id="rId25"/>
    <p:sldLayoutId id="2147483771" r:id="rId26"/>
    <p:sldLayoutId id="2147483772" r:id="rId27"/>
    <p:sldLayoutId id="2147483773" r:id="rId28"/>
    <p:sldLayoutId id="2147483774" r:id="rId29"/>
    <p:sldLayoutId id="2147483775" r:id="rId30"/>
    <p:sldLayoutId id="2147483776" r:id="rId31"/>
    <p:sldLayoutId id="2147483777" r:id="rId32"/>
    <p:sldLayoutId id="2147483779" r:id="rId33"/>
    <p:sldLayoutId id="2147483782" r:id="rId34"/>
  </p:sldLayoutIdLst>
  <p:hf hdr="0" ftr="0" dt="0"/>
  <p:txStyles>
    <p:titleStyle>
      <a:lvl1pPr algn="l" defTabSz="914130" rtl="0" eaLnBrk="1" latinLnBrk="0" hangingPunct="1">
        <a:lnSpc>
          <a:spcPct val="90000"/>
        </a:lnSpc>
        <a:spcBef>
          <a:spcPct val="0"/>
        </a:spcBef>
        <a:buNone/>
        <a:defRPr sz="100" b="0" kern="1200" cap="all" baseline="0">
          <a:solidFill>
            <a:schemeClr val="bg1">
              <a:alpha val="0"/>
            </a:schemeClr>
          </a:solidFill>
          <a:latin typeface="+mj-lt"/>
          <a:ea typeface="+mj-ea"/>
          <a:cs typeface="+mj-cs"/>
        </a:defRPr>
      </a:lvl1pPr>
    </p:titleStyle>
    <p:bodyStyle>
      <a:lvl1pPr marL="0" indent="0" algn="l" defTabSz="91413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itchFamily="34" charset="0"/>
        <a:buNone/>
        <a:defRPr sz="1300" b="0" i="0" kern="1200" cap="none" baseline="0">
          <a:solidFill>
            <a:srgbClr val="71B304"/>
          </a:solidFill>
          <a:latin typeface="Avenir LT Std 95 Black"/>
          <a:ea typeface="+mn-ea"/>
          <a:cs typeface="Avenir LT Std 95 Black"/>
        </a:defRPr>
      </a:lvl1pPr>
      <a:lvl2pPr marL="0" indent="0" algn="l" defTabSz="914130" rtl="0" eaLnBrk="1" latinLnBrk="0" hangingPunct="1">
        <a:lnSpc>
          <a:spcPct val="90000"/>
        </a:lnSpc>
        <a:spcBef>
          <a:spcPts val="500"/>
        </a:spcBef>
        <a:buFont typeface="Arial" pitchFamily="34" charset="0"/>
        <a:buNone/>
        <a:defRPr sz="1300" b="0" i="0" kern="1200" cap="none" baseline="0">
          <a:solidFill>
            <a:srgbClr val="6C6C6C"/>
          </a:solidFill>
          <a:latin typeface="+mn-lt"/>
          <a:ea typeface="+mn-ea"/>
          <a:cs typeface="Avenir LT Std 95 Black"/>
        </a:defRPr>
      </a:lvl2pPr>
      <a:lvl3pPr marL="285666" indent="-285666" algn="l" defTabSz="914130" rtl="0" eaLnBrk="1" latinLnBrk="0" hangingPunct="1">
        <a:lnSpc>
          <a:spcPct val="100000"/>
        </a:lnSpc>
        <a:spcBef>
          <a:spcPts val="0"/>
        </a:spcBef>
        <a:spcAft>
          <a:spcPts val="500"/>
        </a:spcAft>
        <a:buClr>
          <a:srgbClr val="71B304"/>
        </a:buClr>
        <a:buSzPct val="100000"/>
        <a:buFont typeface="Lucida Grande"/>
        <a:buChar char="+"/>
        <a:defRPr sz="1300" kern="1200">
          <a:solidFill>
            <a:srgbClr val="6C6C6C"/>
          </a:solidFill>
          <a:latin typeface="+mn-lt"/>
          <a:ea typeface="+mn-ea"/>
          <a:cs typeface="+mn-cs"/>
        </a:defRPr>
      </a:lvl3pPr>
      <a:lvl4pPr marL="215930" indent="-71982" algn="l" defTabSz="914130" rtl="0" eaLnBrk="1" latinLnBrk="0" hangingPunct="1">
        <a:lnSpc>
          <a:spcPct val="100000"/>
        </a:lnSpc>
        <a:spcBef>
          <a:spcPts val="0"/>
        </a:spcBef>
        <a:buClr>
          <a:schemeClr val="accent1"/>
        </a:buClr>
        <a:buSzPct val="75000"/>
        <a:buFont typeface="Arial" pitchFamily="34" charset="0"/>
        <a:buChar char="•"/>
        <a:defRPr sz="1200" kern="1200">
          <a:solidFill>
            <a:srgbClr val="6C6C6C"/>
          </a:solidFill>
          <a:latin typeface="+mn-lt"/>
          <a:ea typeface="+mn-ea"/>
          <a:cs typeface="+mn-cs"/>
        </a:defRPr>
      </a:lvl4pPr>
      <a:lvl5pPr marL="215930" indent="0" algn="l" defTabSz="914130" rtl="0" eaLnBrk="1" latinLnBrk="0" hangingPunct="1">
        <a:lnSpc>
          <a:spcPct val="100000"/>
        </a:lnSpc>
        <a:spcBef>
          <a:spcPts val="0"/>
        </a:spcBef>
        <a:buSzPct val="100000"/>
        <a:buFont typeface="Arial" pitchFamily="34" charset="0"/>
        <a:buNone/>
        <a:defRPr sz="1200" kern="1200">
          <a:solidFill>
            <a:srgbClr val="6C6C6C"/>
          </a:solidFill>
          <a:latin typeface="+mn-lt"/>
          <a:ea typeface="+mn-ea"/>
          <a:cs typeface="+mn-cs"/>
        </a:defRPr>
      </a:lvl5pPr>
      <a:lvl6pPr marL="2513844" indent="-228528" algn="l" defTabSz="91413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912" indent="-228528" algn="l" defTabSz="91413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4" indent="-228528" algn="l" defTabSz="91413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6" indent="-228528" algn="l" defTabSz="91413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8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30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92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9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6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4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1" y="4920853"/>
            <a:ext cx="179388" cy="21609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noProof="0"/>
              <a:t>T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-793" y="4920879"/>
            <a:ext cx="180181" cy="2226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defTabSz="914130"/>
            <a:fld id="{733122C9-A0B9-462F-8757-0847AD287B63}" type="slidenum">
              <a:rPr lang="fr-FR" smtClean="0">
                <a:solidFill>
                  <a:prstClr val="white">
                    <a:alpha val="0"/>
                  </a:prstClr>
                </a:solidFill>
              </a:rPr>
              <a:pPr defTabSz="914130"/>
              <a:t>‹N°›</a:t>
            </a:fld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pic>
        <p:nvPicPr>
          <p:cNvPr id="13" name="Image 12" descr="logo_sncf.png"/>
          <p:cNvPicPr>
            <a:picLocks noChangeAspect="1"/>
          </p:cNvPicPr>
          <p:nvPr/>
        </p:nvPicPr>
        <p:blipFill>
          <a:blip r:embed="rId3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6218" y="4322050"/>
            <a:ext cx="792000" cy="792000"/>
          </a:xfrm>
          <a:prstGeom prst="rect">
            <a:avLst/>
          </a:prstGeom>
        </p:spPr>
      </p:pic>
      <p:pic>
        <p:nvPicPr>
          <p:cNvPr id="10" name="Image 9" descr="Logotype-e.SNCF.png"/>
          <p:cNvPicPr>
            <a:picLocks noChangeAspect="1"/>
          </p:cNvPicPr>
          <p:nvPr/>
        </p:nvPicPr>
        <p:blipFill rotWithShape="1"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748" b="28010"/>
          <a:stretch/>
        </p:blipFill>
        <p:spPr>
          <a:xfrm>
            <a:off x="547330" y="4653037"/>
            <a:ext cx="635370" cy="123444"/>
          </a:xfrm>
          <a:prstGeom prst="rect">
            <a:avLst/>
          </a:prstGeom>
        </p:spPr>
      </p:pic>
      <p:sp>
        <p:nvSpPr>
          <p:cNvPr id="14" name="Espace réservé du titre 1"/>
          <p:cNvSpPr txBox="1">
            <a:spLocks/>
          </p:cNvSpPr>
          <p:nvPr/>
        </p:nvSpPr>
        <p:spPr bwMode="gray">
          <a:xfrm>
            <a:off x="539766" y="485802"/>
            <a:ext cx="8064499" cy="46513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00" b="0" kern="1200" cap="all" baseline="0">
                <a:solidFill>
                  <a:schemeClr val="bg1">
                    <a:alpha val="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err="1">
                <a:solidFill>
                  <a:prstClr val="white">
                    <a:alpha val="0"/>
                  </a:prstClr>
                </a:solidFill>
              </a:rPr>
              <a:t>TitrettdozaeTi</a:t>
            </a:r>
            <a:r>
              <a:rPr lang="fr-FR">
                <a:solidFill>
                  <a:prstClr val="white">
                    <a:alpha val="0"/>
                  </a:prstClr>
                </a:solidFill>
              </a:rPr>
              <a:t> »</a:t>
            </a:r>
            <a:r>
              <a:rPr lang="fr-FR" err="1">
                <a:solidFill>
                  <a:prstClr val="white">
                    <a:alpha val="0"/>
                  </a:prstClr>
                </a:solidFill>
              </a:rPr>
              <a:t>fiuahc</a:t>
            </a:r>
            <a:endParaRPr lang="fr-FR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15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539766" y="1743084"/>
            <a:ext cx="8064499" cy="273685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18" name="Espace réservé du numéro de diapositive 5"/>
          <p:cNvSpPr txBox="1">
            <a:spLocks/>
          </p:cNvSpPr>
          <p:nvPr/>
        </p:nvSpPr>
        <p:spPr bwMode="gray">
          <a:xfrm>
            <a:off x="179389" y="4813200"/>
            <a:ext cx="360362" cy="16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lnSpc>
                <a:spcPct val="114000"/>
              </a:lnSpc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33122C9-A0B9-462F-8757-0847AD287B63}" type="slidenum">
              <a:rPr lang="fr-FR" smtClean="0">
                <a:solidFill>
                  <a:srgbClr val="3C3732"/>
                </a:solidFill>
              </a:rPr>
              <a:pPr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19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539789" y="4813200"/>
            <a:ext cx="7669213" cy="16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lnSpc>
                <a:spcPct val="114000"/>
              </a:lnSpc>
              <a:defRPr sz="800" cap="none" baseline="0">
                <a:solidFill>
                  <a:schemeClr val="tx1"/>
                </a:solidFill>
              </a:defRPr>
            </a:lvl1pPr>
          </a:lstStyle>
          <a:p>
            <a:pPr defTabSz="914130"/>
            <a:fld id="{E024BBF2-2E57-4FDD-B47A-A86B360BD2E6}" type="datetime2">
              <a:rPr lang="fr-FR" smtClean="0">
                <a:solidFill>
                  <a:srgbClr val="3C3732"/>
                </a:solidFill>
              </a:rPr>
              <a:pPr defTabSz="914130"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20" name="Rectangle 19"/>
          <p:cNvSpPr/>
          <p:nvPr/>
        </p:nvSpPr>
        <p:spPr bwMode="gray">
          <a:xfrm>
            <a:off x="394094" y="4813200"/>
            <a:ext cx="144000" cy="16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 defTabSz="914130">
              <a:lnSpc>
                <a:spcPct val="114000"/>
              </a:lnSpc>
            </a:pPr>
            <a:r>
              <a:rPr lang="fr-FR" sz="800" b="1">
                <a:solidFill>
                  <a:srgbClr val="3C3732"/>
                </a:solidFill>
              </a:rPr>
              <a:t>–</a:t>
            </a:r>
          </a:p>
        </p:txBody>
      </p:sp>
      <p:sp>
        <p:nvSpPr>
          <p:cNvPr id="3" name="MSIPCMContentMarking" descr="{&quot;HashCode&quot;:902745191,&quot;Placement&quot;:&quot;Footer&quot;,&quot;Top&quot;:384.343,&quot;Left&quot;:0.0,&quot;SlideWidth&quot;:720,&quot;SlideHeight&quot;:405}">
            <a:extLst>
              <a:ext uri="{FF2B5EF4-FFF2-40B4-BE49-F238E27FC236}">
                <a16:creationId xmlns:a16="http://schemas.microsoft.com/office/drawing/2014/main" id="{D0C2E860-54F2-408B-BB2B-0D0040F59B3D}"/>
              </a:ext>
            </a:extLst>
          </p:cNvPr>
          <p:cNvSpPr txBox="1"/>
          <p:nvPr userDrawn="1"/>
        </p:nvSpPr>
        <p:spPr>
          <a:xfrm>
            <a:off x="0" y="4881156"/>
            <a:ext cx="650765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fr-FR" sz="1000">
                <a:solidFill>
                  <a:srgbClr val="008000"/>
                </a:solidFill>
                <a:latin typeface="Calibri" panose="020F0502020204030204" pitchFamily="34" charset="0"/>
              </a:rPr>
              <a:t>Interne</a:t>
            </a:r>
          </a:p>
        </p:txBody>
      </p:sp>
    </p:spTree>
    <p:extLst>
      <p:ext uri="{BB962C8B-B14F-4D97-AF65-F5344CB8AC3E}">
        <p14:creationId xmlns:p14="http://schemas.microsoft.com/office/powerpoint/2010/main" val="4188994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791" r:id="rId5"/>
    <p:sldLayoutId id="2147483792" r:id="rId6"/>
    <p:sldLayoutId id="2147483793" r:id="rId7"/>
    <p:sldLayoutId id="2147483794" r:id="rId8"/>
    <p:sldLayoutId id="2147483795" r:id="rId9"/>
    <p:sldLayoutId id="2147483796" r:id="rId10"/>
    <p:sldLayoutId id="2147483797" r:id="rId11"/>
    <p:sldLayoutId id="2147483798" r:id="rId12"/>
    <p:sldLayoutId id="2147483799" r:id="rId13"/>
    <p:sldLayoutId id="2147483800" r:id="rId14"/>
    <p:sldLayoutId id="2147483801" r:id="rId15"/>
    <p:sldLayoutId id="2147483802" r:id="rId16"/>
    <p:sldLayoutId id="2147483803" r:id="rId17"/>
    <p:sldLayoutId id="2147483804" r:id="rId18"/>
    <p:sldLayoutId id="2147483805" r:id="rId19"/>
    <p:sldLayoutId id="2147483806" r:id="rId20"/>
    <p:sldLayoutId id="2147483807" r:id="rId21"/>
    <p:sldLayoutId id="2147483808" r:id="rId22"/>
    <p:sldLayoutId id="2147483809" r:id="rId23"/>
    <p:sldLayoutId id="2147483810" r:id="rId24"/>
    <p:sldLayoutId id="2147483811" r:id="rId25"/>
    <p:sldLayoutId id="2147483812" r:id="rId26"/>
    <p:sldLayoutId id="2147483813" r:id="rId27"/>
    <p:sldLayoutId id="2147483814" r:id="rId28"/>
    <p:sldLayoutId id="2147483815" r:id="rId29"/>
    <p:sldLayoutId id="2147483816" r:id="rId30"/>
    <p:sldLayoutId id="2147483817" r:id="rId31"/>
    <p:sldLayoutId id="2147483818" r:id="rId32"/>
    <p:sldLayoutId id="2147483819" r:id="rId33"/>
    <p:sldLayoutId id="2147483821" r:id="rId34"/>
    <p:sldLayoutId id="2147483823" r:id="rId35"/>
  </p:sldLayoutIdLst>
  <p:hf hdr="0" ftr="0" dt="0"/>
  <p:txStyles>
    <p:titleStyle>
      <a:lvl1pPr algn="l" defTabSz="914130" rtl="0" eaLnBrk="1" latinLnBrk="0" hangingPunct="1">
        <a:lnSpc>
          <a:spcPct val="90000"/>
        </a:lnSpc>
        <a:spcBef>
          <a:spcPct val="0"/>
        </a:spcBef>
        <a:buNone/>
        <a:defRPr sz="100" b="0" kern="1200" cap="all" baseline="0">
          <a:solidFill>
            <a:schemeClr val="bg1">
              <a:alpha val="0"/>
            </a:schemeClr>
          </a:solidFill>
          <a:latin typeface="+mj-lt"/>
          <a:ea typeface="+mj-ea"/>
          <a:cs typeface="+mj-cs"/>
        </a:defRPr>
      </a:lvl1pPr>
    </p:titleStyle>
    <p:bodyStyle>
      <a:lvl1pPr marL="0" indent="0" algn="l" defTabSz="91413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itchFamily="34" charset="0"/>
        <a:buNone/>
        <a:defRPr sz="1300" b="0" i="0" kern="1200" cap="none" baseline="0">
          <a:solidFill>
            <a:srgbClr val="71B304"/>
          </a:solidFill>
          <a:latin typeface="Avenir LT Std 95 Black"/>
          <a:ea typeface="+mn-ea"/>
          <a:cs typeface="Avenir LT Std 95 Black"/>
        </a:defRPr>
      </a:lvl1pPr>
      <a:lvl2pPr marL="0" indent="0" algn="l" defTabSz="914130" rtl="0" eaLnBrk="1" latinLnBrk="0" hangingPunct="1">
        <a:lnSpc>
          <a:spcPct val="90000"/>
        </a:lnSpc>
        <a:spcBef>
          <a:spcPts val="500"/>
        </a:spcBef>
        <a:buFont typeface="Arial" pitchFamily="34" charset="0"/>
        <a:buNone/>
        <a:defRPr sz="1300" b="0" i="0" kern="1200" cap="none" baseline="0">
          <a:solidFill>
            <a:srgbClr val="6C6C6C"/>
          </a:solidFill>
          <a:latin typeface="+mn-lt"/>
          <a:ea typeface="+mn-ea"/>
          <a:cs typeface="Avenir LT Std 95 Black"/>
        </a:defRPr>
      </a:lvl2pPr>
      <a:lvl3pPr marL="285666" indent="-285666" algn="l" defTabSz="914130" rtl="0" eaLnBrk="1" latinLnBrk="0" hangingPunct="1">
        <a:lnSpc>
          <a:spcPct val="100000"/>
        </a:lnSpc>
        <a:spcBef>
          <a:spcPts val="0"/>
        </a:spcBef>
        <a:spcAft>
          <a:spcPts val="500"/>
        </a:spcAft>
        <a:buClr>
          <a:srgbClr val="71B304"/>
        </a:buClr>
        <a:buSzPct val="100000"/>
        <a:buFont typeface="Lucida Grande"/>
        <a:buChar char="+"/>
        <a:defRPr sz="1300" kern="1200">
          <a:solidFill>
            <a:srgbClr val="6C6C6C"/>
          </a:solidFill>
          <a:latin typeface="+mn-lt"/>
          <a:ea typeface="+mn-ea"/>
          <a:cs typeface="+mn-cs"/>
        </a:defRPr>
      </a:lvl3pPr>
      <a:lvl4pPr marL="215930" indent="-71982" algn="l" defTabSz="914130" rtl="0" eaLnBrk="1" latinLnBrk="0" hangingPunct="1">
        <a:lnSpc>
          <a:spcPct val="100000"/>
        </a:lnSpc>
        <a:spcBef>
          <a:spcPts val="0"/>
        </a:spcBef>
        <a:buClr>
          <a:schemeClr val="accent1"/>
        </a:buClr>
        <a:buSzPct val="75000"/>
        <a:buFont typeface="Arial" pitchFamily="34" charset="0"/>
        <a:buChar char="•"/>
        <a:defRPr sz="1200" kern="1200">
          <a:solidFill>
            <a:srgbClr val="6C6C6C"/>
          </a:solidFill>
          <a:latin typeface="+mn-lt"/>
          <a:ea typeface="+mn-ea"/>
          <a:cs typeface="+mn-cs"/>
        </a:defRPr>
      </a:lvl4pPr>
      <a:lvl5pPr marL="215930" indent="0" algn="l" defTabSz="914130" rtl="0" eaLnBrk="1" latinLnBrk="0" hangingPunct="1">
        <a:lnSpc>
          <a:spcPct val="100000"/>
        </a:lnSpc>
        <a:spcBef>
          <a:spcPts val="0"/>
        </a:spcBef>
        <a:buSzPct val="100000"/>
        <a:buFont typeface="Arial" pitchFamily="34" charset="0"/>
        <a:buNone/>
        <a:defRPr sz="1200" kern="1200">
          <a:solidFill>
            <a:srgbClr val="6C6C6C"/>
          </a:solidFill>
          <a:latin typeface="+mn-lt"/>
          <a:ea typeface="+mn-ea"/>
          <a:cs typeface="+mn-cs"/>
        </a:defRPr>
      </a:lvl5pPr>
      <a:lvl6pPr marL="2513844" indent="-228528" algn="l" defTabSz="91413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912" indent="-228528" algn="l" defTabSz="91413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4" indent="-228528" algn="l" defTabSz="91413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6" indent="-228528" algn="l" defTabSz="91413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8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30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92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9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6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4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539750" y="485776"/>
            <a:ext cx="8064499" cy="46513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r-FR" noProof="0"/>
              <a:t>Titr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539749" y="4813200"/>
            <a:ext cx="7669213" cy="16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lnSpc>
                <a:spcPct val="114000"/>
              </a:lnSpc>
              <a:defRPr sz="800" cap="all" baseline="0">
                <a:solidFill>
                  <a:schemeClr val="tx1"/>
                </a:solidFill>
              </a:defRPr>
            </a:lvl1pPr>
          </a:lstStyle>
          <a:p>
            <a:pPr defTabSz="914400"/>
            <a:fld id="{A8221CC7-9192-47E6-B9FA-BFC58C0B1272}" type="datetime2">
              <a:rPr lang="fr-FR" smtClean="0">
                <a:solidFill>
                  <a:srgbClr val="3C3732"/>
                </a:solidFill>
              </a:rPr>
              <a:pPr defTabSz="914400"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179388" y="4659313"/>
            <a:ext cx="8029575" cy="16201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lnSpc>
                <a:spcPct val="90000"/>
              </a:lnSpc>
              <a:defRPr sz="800" b="0" cap="all" baseline="0">
                <a:solidFill>
                  <a:srgbClr val="A0A0A0"/>
                </a:solidFill>
                <a:latin typeface="Avenir LT Std 65 Medium" pitchFamily="34" charset="0"/>
              </a:defRPr>
            </a:lvl1pPr>
          </a:lstStyle>
          <a:p>
            <a:pPr algn="l" defTabSz="914400"/>
            <a:r>
              <a:rPr lang="fr-FR"/>
              <a:t>Direction Data &amp; IoT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79387" y="4813200"/>
            <a:ext cx="360362" cy="16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lnSpc>
                <a:spcPct val="114000"/>
              </a:lnSpc>
              <a:defRPr sz="800">
                <a:solidFill>
                  <a:schemeClr val="tx1"/>
                </a:solidFill>
              </a:defRPr>
            </a:lvl1pPr>
          </a:lstStyle>
          <a:p>
            <a:pPr defTabSz="914400"/>
            <a:fld id="{733122C9-A0B9-462F-8757-0847AD287B63}" type="slidenum">
              <a:rPr lang="fr-FR" smtClean="0">
                <a:solidFill>
                  <a:srgbClr val="3C3732"/>
                </a:solidFill>
              </a:rPr>
              <a:pPr defTabSz="914400"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539751" y="1743074"/>
            <a:ext cx="8064499" cy="273685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9" name="Rectangle 8"/>
          <p:cNvSpPr/>
          <p:nvPr/>
        </p:nvSpPr>
        <p:spPr bwMode="gray">
          <a:xfrm>
            <a:off x="394094" y="4813200"/>
            <a:ext cx="144000" cy="16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 defTabSz="914400">
              <a:lnSpc>
                <a:spcPct val="114000"/>
              </a:lnSpc>
            </a:pPr>
            <a:r>
              <a:rPr lang="fr-FR" sz="800" b="1">
                <a:solidFill>
                  <a:srgbClr val="3C3732"/>
                </a:solidFill>
              </a:rPr>
              <a:t>–</a:t>
            </a:r>
          </a:p>
        </p:txBody>
      </p:sp>
      <p:pic>
        <p:nvPicPr>
          <p:cNvPr id="11" name="Image 10" descr="logo_sncf.png"/>
          <p:cNvPicPr>
            <a:picLocks noChangeAspect="1"/>
          </p:cNvPicPr>
          <p:nvPr/>
        </p:nvPicPr>
        <p:blipFill>
          <a:blip r:embed="rId26" cstate="print"/>
          <a:stretch>
            <a:fillRect/>
          </a:stretch>
        </p:blipFill>
        <p:spPr>
          <a:xfrm>
            <a:off x="8316218" y="4322050"/>
            <a:ext cx="792000" cy="792000"/>
          </a:xfrm>
          <a:prstGeom prst="rect">
            <a:avLst/>
          </a:prstGeom>
        </p:spPr>
      </p:pic>
      <p:sp>
        <p:nvSpPr>
          <p:cNvPr id="7" name="MSIPCMContentMarking" descr="{&quot;HashCode&quot;:902745191,&quot;Placement&quot;:&quot;Footer&quot;,&quot;Top&quot;:384.343,&quot;Left&quot;:0.0,&quot;SlideWidth&quot;:720,&quot;SlideHeight&quot;:405}">
            <a:extLst>
              <a:ext uri="{FF2B5EF4-FFF2-40B4-BE49-F238E27FC236}">
                <a16:creationId xmlns:a16="http://schemas.microsoft.com/office/drawing/2014/main" id="{8A66F375-B492-41E2-BDDD-4938924B4DCE}"/>
              </a:ext>
            </a:extLst>
          </p:cNvPr>
          <p:cNvSpPr txBox="1"/>
          <p:nvPr userDrawn="1"/>
        </p:nvSpPr>
        <p:spPr>
          <a:xfrm>
            <a:off x="0" y="4881156"/>
            <a:ext cx="650765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fr-FR" sz="1000">
                <a:solidFill>
                  <a:srgbClr val="008000"/>
                </a:solidFill>
                <a:latin typeface="Calibri" panose="020F0502020204030204" pitchFamily="34" charset="0"/>
              </a:rPr>
              <a:t>Interne</a:t>
            </a:r>
          </a:p>
        </p:txBody>
      </p:sp>
    </p:spTree>
    <p:extLst>
      <p:ext uri="{BB962C8B-B14F-4D97-AF65-F5344CB8AC3E}">
        <p14:creationId xmlns:p14="http://schemas.microsoft.com/office/powerpoint/2010/main" val="13002347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9" r:id="rId2"/>
    <p:sldLayoutId id="2147483830" r:id="rId3"/>
    <p:sldLayoutId id="2147483831" r:id="rId4"/>
    <p:sldLayoutId id="2147483832" r:id="rId5"/>
    <p:sldLayoutId id="2147483833" r:id="rId6"/>
    <p:sldLayoutId id="2147483834" r:id="rId7"/>
    <p:sldLayoutId id="2147483835" r:id="rId8"/>
    <p:sldLayoutId id="2147483836" r:id="rId9"/>
    <p:sldLayoutId id="2147483837" r:id="rId10"/>
    <p:sldLayoutId id="2147483838" r:id="rId11"/>
    <p:sldLayoutId id="2147483839" r:id="rId12"/>
    <p:sldLayoutId id="2147483840" r:id="rId13"/>
    <p:sldLayoutId id="2147483841" r:id="rId14"/>
    <p:sldLayoutId id="2147483842" r:id="rId15"/>
    <p:sldLayoutId id="2147483843" r:id="rId16"/>
    <p:sldLayoutId id="2147483844" r:id="rId17"/>
    <p:sldLayoutId id="2147483845" r:id="rId18"/>
    <p:sldLayoutId id="2147483846" r:id="rId19"/>
    <p:sldLayoutId id="2147483847" r:id="rId20"/>
    <p:sldLayoutId id="2147483848" r:id="rId21"/>
    <p:sldLayoutId id="2147483849" r:id="rId22"/>
    <p:sldLayoutId id="2147483850" r:id="rId23"/>
    <p:sldLayoutId id="2147483851" r:id="rId24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kern="1200" cap="all" baseline="0">
          <a:solidFill>
            <a:schemeClr val="accent1"/>
          </a:solidFill>
          <a:latin typeface="Avenir LT Std 65 Medium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500"/>
        </a:spcAft>
        <a:buFont typeface="Arial" pitchFamily="34" charset="0"/>
        <a:buNone/>
        <a:defRPr sz="1300" b="1" kern="1200">
          <a:solidFill>
            <a:schemeClr val="accent1"/>
          </a:solidFill>
          <a:latin typeface="Avenir LT Std 65 Medium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500"/>
        </a:spcAft>
        <a:buFont typeface="Arial" pitchFamily="34" charset="0"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14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500"/>
        </a:spcAft>
        <a:buClr>
          <a:schemeClr val="accent1"/>
        </a:buClr>
        <a:buSzPct val="100000"/>
        <a:buFont typeface="Avenir LT Std 65 Medium" pitchFamily="34" charset="0"/>
        <a:buChar char="+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216000" indent="-72000" algn="l" defTabSz="914400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SzPct val="75000"/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16000" indent="0" algn="l" defTabSz="914400" rtl="0" eaLnBrk="1" latinLnBrk="0" hangingPunct="1">
        <a:lnSpc>
          <a:spcPct val="100000"/>
        </a:lnSpc>
        <a:spcBef>
          <a:spcPts val="0"/>
        </a:spcBef>
        <a:buSzPct val="100000"/>
        <a:buFont typeface="Arial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539750" y="485776"/>
            <a:ext cx="8064499" cy="46513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r-FR" noProof="0"/>
              <a:t>Titr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539749" y="4813200"/>
            <a:ext cx="7669213" cy="16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lnSpc>
                <a:spcPct val="114000"/>
              </a:lnSpc>
              <a:defRPr sz="800" cap="all" baseline="0">
                <a:solidFill>
                  <a:schemeClr val="tx1"/>
                </a:solidFill>
              </a:defRPr>
            </a:lvl1pPr>
          </a:lstStyle>
          <a:p>
            <a:pPr defTabSz="914400"/>
            <a:fld id="{82D44AFC-FB12-4606-B360-6BE9753DA989}" type="datetime2">
              <a:rPr lang="fr-FR" smtClean="0">
                <a:solidFill>
                  <a:srgbClr val="3C3732"/>
                </a:solidFill>
              </a:rPr>
              <a:pPr defTabSz="914400"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179388" y="4659313"/>
            <a:ext cx="8029575" cy="16201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lnSpc>
                <a:spcPct val="90000"/>
              </a:lnSpc>
              <a:defRPr sz="800" b="0" cap="all" baseline="0">
                <a:solidFill>
                  <a:srgbClr val="A0A0A0"/>
                </a:solidFill>
                <a:latin typeface="Avenir LT Std 65 Medium" pitchFamily="34" charset="0"/>
              </a:defRPr>
            </a:lvl1pPr>
          </a:lstStyle>
          <a:p>
            <a:pPr algn="l" defTabSz="914400"/>
            <a:r>
              <a:rPr lang="fr-FR"/>
              <a:t>Direction Data &amp; IoT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79387" y="4813200"/>
            <a:ext cx="360362" cy="16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lnSpc>
                <a:spcPct val="114000"/>
              </a:lnSpc>
              <a:defRPr sz="800">
                <a:solidFill>
                  <a:schemeClr val="tx1"/>
                </a:solidFill>
              </a:defRPr>
            </a:lvl1pPr>
          </a:lstStyle>
          <a:p>
            <a:pPr defTabSz="914400"/>
            <a:fld id="{733122C9-A0B9-462F-8757-0847AD287B63}" type="slidenum">
              <a:rPr lang="fr-FR" smtClean="0">
                <a:solidFill>
                  <a:srgbClr val="3C3732"/>
                </a:solidFill>
              </a:rPr>
              <a:pPr defTabSz="914400"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539751" y="1743074"/>
            <a:ext cx="8064499" cy="273685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9" name="Rectangle 8"/>
          <p:cNvSpPr/>
          <p:nvPr/>
        </p:nvSpPr>
        <p:spPr bwMode="gray">
          <a:xfrm>
            <a:off x="394094" y="4813200"/>
            <a:ext cx="144000" cy="16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 defTabSz="914400">
              <a:lnSpc>
                <a:spcPct val="114000"/>
              </a:lnSpc>
            </a:pPr>
            <a:r>
              <a:rPr lang="fr-FR" sz="800" b="1">
                <a:solidFill>
                  <a:srgbClr val="3C3732"/>
                </a:solidFill>
              </a:rPr>
              <a:t>–</a:t>
            </a:r>
          </a:p>
        </p:txBody>
      </p:sp>
      <p:pic>
        <p:nvPicPr>
          <p:cNvPr id="11" name="Image 10" descr="logo_sncf.png"/>
          <p:cNvPicPr>
            <a:picLocks noChangeAspect="1"/>
          </p:cNvPicPr>
          <p:nvPr/>
        </p:nvPicPr>
        <p:blipFill>
          <a:blip r:embed="rId27" cstate="print"/>
          <a:stretch>
            <a:fillRect/>
          </a:stretch>
        </p:blipFill>
        <p:spPr>
          <a:xfrm>
            <a:off x="8316218" y="4322050"/>
            <a:ext cx="792000" cy="792000"/>
          </a:xfrm>
          <a:prstGeom prst="rect">
            <a:avLst/>
          </a:prstGeom>
        </p:spPr>
      </p:pic>
      <p:sp>
        <p:nvSpPr>
          <p:cNvPr id="7" name="MSIPCMContentMarking" descr="{&quot;HashCode&quot;:902745191,&quot;Placement&quot;:&quot;Footer&quot;,&quot;Top&quot;:384.343,&quot;Left&quot;:0.0,&quot;SlideWidth&quot;:720,&quot;SlideHeight&quot;:405}">
            <a:extLst>
              <a:ext uri="{FF2B5EF4-FFF2-40B4-BE49-F238E27FC236}">
                <a16:creationId xmlns:a16="http://schemas.microsoft.com/office/drawing/2014/main" id="{B72D17F4-33E2-4E81-B180-FD4BD3B2BEEB}"/>
              </a:ext>
            </a:extLst>
          </p:cNvPr>
          <p:cNvSpPr txBox="1"/>
          <p:nvPr userDrawn="1"/>
        </p:nvSpPr>
        <p:spPr>
          <a:xfrm>
            <a:off x="0" y="4881156"/>
            <a:ext cx="650765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fr-FR" sz="1000">
                <a:solidFill>
                  <a:srgbClr val="008000"/>
                </a:solidFill>
                <a:latin typeface="Calibri" panose="020F0502020204030204" pitchFamily="34" charset="0"/>
              </a:rPr>
              <a:t>Interne</a:t>
            </a:r>
          </a:p>
        </p:txBody>
      </p:sp>
    </p:spTree>
    <p:extLst>
      <p:ext uri="{BB962C8B-B14F-4D97-AF65-F5344CB8AC3E}">
        <p14:creationId xmlns:p14="http://schemas.microsoft.com/office/powerpoint/2010/main" val="9113630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854" r:id="rId2"/>
    <p:sldLayoutId id="2147483855" r:id="rId3"/>
    <p:sldLayoutId id="2147483856" r:id="rId4"/>
    <p:sldLayoutId id="2147483857" r:id="rId5"/>
    <p:sldLayoutId id="2147483858" r:id="rId6"/>
    <p:sldLayoutId id="2147483859" r:id="rId7"/>
    <p:sldLayoutId id="2147483860" r:id="rId8"/>
    <p:sldLayoutId id="2147483861" r:id="rId9"/>
    <p:sldLayoutId id="2147483862" r:id="rId10"/>
    <p:sldLayoutId id="2147483863" r:id="rId11"/>
    <p:sldLayoutId id="2147483864" r:id="rId12"/>
    <p:sldLayoutId id="2147483865" r:id="rId13"/>
    <p:sldLayoutId id="2147483866" r:id="rId14"/>
    <p:sldLayoutId id="2147483867" r:id="rId15"/>
    <p:sldLayoutId id="2147483868" r:id="rId16"/>
    <p:sldLayoutId id="2147483869" r:id="rId17"/>
    <p:sldLayoutId id="2147483870" r:id="rId18"/>
    <p:sldLayoutId id="2147483871" r:id="rId19"/>
    <p:sldLayoutId id="2147483872" r:id="rId20"/>
    <p:sldLayoutId id="2147483873" r:id="rId21"/>
    <p:sldLayoutId id="2147483874" r:id="rId22"/>
    <p:sldLayoutId id="2147483875" r:id="rId23"/>
    <p:sldLayoutId id="2147483876" r:id="rId24"/>
    <p:sldLayoutId id="2147483877" r:id="rId25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kern="1200" cap="all" baseline="0">
          <a:solidFill>
            <a:schemeClr val="accent1"/>
          </a:solidFill>
          <a:latin typeface="Avenir LT Std 65 Medium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500"/>
        </a:spcAft>
        <a:buFont typeface="Arial" pitchFamily="34" charset="0"/>
        <a:buNone/>
        <a:defRPr sz="1300" b="1" kern="1200">
          <a:solidFill>
            <a:schemeClr val="accent1"/>
          </a:solidFill>
          <a:latin typeface="Avenir LT Std 65 Medium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500"/>
        </a:spcAft>
        <a:buFont typeface="Arial" pitchFamily="34" charset="0"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14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500"/>
        </a:spcAft>
        <a:buClr>
          <a:schemeClr val="accent1"/>
        </a:buClr>
        <a:buSzPct val="100000"/>
        <a:buFont typeface="Avenir LT Std 65 Medium" pitchFamily="34" charset="0"/>
        <a:buChar char="+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216000" indent="-72000" algn="l" defTabSz="914400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SzPct val="75000"/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16000" indent="0" algn="l" defTabSz="914400" rtl="0" eaLnBrk="1" latinLnBrk="0" hangingPunct="1">
        <a:lnSpc>
          <a:spcPct val="100000"/>
        </a:lnSpc>
        <a:spcBef>
          <a:spcPts val="0"/>
        </a:spcBef>
        <a:buSzPct val="100000"/>
        <a:buFont typeface="Arial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t 7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986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1026" name="Obje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3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16"/>
            </p:custDataLst>
          </p:nvPr>
        </p:nvSpPr>
        <p:spPr bwMode="gray">
          <a:xfrm>
            <a:off x="539750" y="485775"/>
            <a:ext cx="8064500" cy="46513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r-FR" noProof="0"/>
              <a:t>Titr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  <p:custDataLst>
              <p:tags r:id="rId17"/>
            </p:custDataLst>
          </p:nvPr>
        </p:nvSpPr>
        <p:spPr bwMode="gray">
          <a:xfrm>
            <a:off x="657226" y="4813304"/>
            <a:ext cx="7753350" cy="17303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07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800" b="0" cap="all" baseline="0">
                <a:solidFill>
                  <a:srgbClr val="A0A0A0"/>
                </a:solidFill>
                <a:latin typeface="Avenir LT Std 65 Medium" pitchFamily="34" charset="0"/>
                <a:cs typeface="+mn-cs"/>
              </a:defRPr>
            </a:lvl1pPr>
          </a:lstStyle>
          <a:p>
            <a:pPr>
              <a:defRPr/>
            </a:pPr>
            <a:r>
              <a:rPr lang="pt-BR"/>
              <a:t>Offres de solutions IoT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  <p:custDataLst>
              <p:tags r:id="rId18"/>
            </p:custDataLst>
          </p:nvPr>
        </p:nvSpPr>
        <p:spPr bwMode="gray">
          <a:xfrm>
            <a:off x="179388" y="4813305"/>
            <a:ext cx="360362" cy="1619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070"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bg1">
                    <a:lumMod val="6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CEB05F84-CBFD-42D7-8587-CD01D7F0FCDC}" type="slidenum">
              <a:rPr lang="fr-FR" smtClean="0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1030" name="Espace réservé du texte 2"/>
          <p:cNvSpPr>
            <a:spLocks noGrp="1"/>
          </p:cNvSpPr>
          <p:nvPr>
            <p:ph type="body" idx="1"/>
            <p:custDataLst>
              <p:tags r:id="rId19"/>
            </p:custDataLst>
          </p:nvPr>
        </p:nvSpPr>
        <p:spPr bwMode="gray">
          <a:xfrm>
            <a:off x="539750" y="1743075"/>
            <a:ext cx="8064500" cy="2736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/>
              <a:t>Texte de niveau 1</a:t>
            </a:r>
          </a:p>
          <a:p>
            <a:pPr lvl="1"/>
            <a:r>
              <a:rPr lang="fr-FR" altLang="fr-FR"/>
              <a:t>Texte de niveau 2</a:t>
            </a:r>
          </a:p>
          <a:p>
            <a:pPr lvl="2"/>
            <a:r>
              <a:rPr lang="fr-FR" altLang="fr-FR"/>
              <a:t>Texte de niveau 3</a:t>
            </a:r>
          </a:p>
          <a:p>
            <a:pPr lvl="3"/>
            <a:r>
              <a:rPr lang="fr-FR" altLang="fr-FR"/>
              <a:t>Texte de niveau 4</a:t>
            </a:r>
          </a:p>
          <a:p>
            <a:pPr lvl="4"/>
            <a:r>
              <a:rPr lang="fr-FR" altLang="fr-FR"/>
              <a:t>Texte de niveau 5</a:t>
            </a:r>
          </a:p>
        </p:txBody>
      </p:sp>
      <p:pic>
        <p:nvPicPr>
          <p:cNvPr id="1031" name="Image 8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0575" y="4694238"/>
            <a:ext cx="552450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MSIPCMContentMarking" descr="{&quot;HashCode&quot;:902745191,&quot;Placement&quot;:&quot;Footer&quot;,&quot;Top&quot;:384.343,&quot;Left&quot;:0.0,&quot;SlideWidth&quot;:720,&quot;SlideHeight&quot;:405}">
            <a:extLst>
              <a:ext uri="{FF2B5EF4-FFF2-40B4-BE49-F238E27FC236}">
                <a16:creationId xmlns:a16="http://schemas.microsoft.com/office/drawing/2014/main" id="{43E0917E-83ED-46F9-AF66-82FAB46E3333}"/>
              </a:ext>
            </a:extLst>
          </p:cNvPr>
          <p:cNvSpPr txBox="1"/>
          <p:nvPr userDrawn="1"/>
        </p:nvSpPr>
        <p:spPr>
          <a:xfrm>
            <a:off x="0" y="4881156"/>
            <a:ext cx="650765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fr-FR" sz="1000">
                <a:solidFill>
                  <a:srgbClr val="008000"/>
                </a:solidFill>
                <a:latin typeface="Calibri" panose="020F0502020204030204" pitchFamily="34" charset="0"/>
              </a:rPr>
              <a:t>Interne</a:t>
            </a:r>
          </a:p>
        </p:txBody>
      </p:sp>
    </p:spTree>
    <p:extLst>
      <p:ext uri="{BB962C8B-B14F-4D97-AF65-F5344CB8AC3E}">
        <p14:creationId xmlns:p14="http://schemas.microsoft.com/office/powerpoint/2010/main" val="2168556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  <p:sldLayoutId id="2147483961" r:id="rId2"/>
    <p:sldLayoutId id="2147483962" r:id="rId3"/>
    <p:sldLayoutId id="2147483963" r:id="rId4"/>
    <p:sldLayoutId id="2147483964" r:id="rId5"/>
    <p:sldLayoutId id="2147483965" r:id="rId6"/>
    <p:sldLayoutId id="2147483966" r:id="rId7"/>
    <p:sldLayoutId id="2147483967" r:id="rId8"/>
    <p:sldLayoutId id="2147483968" r:id="rId9"/>
    <p:sldLayoutId id="2147483969" r:id="rId10"/>
    <p:sldLayoutId id="2147483970" r:id="rId11"/>
    <p:sldLayoutId id="2147483971" r:id="rId12"/>
  </p:sldLayoutIdLst>
  <p:hf sldNum="0" hdr="0" ftr="0" dt="0"/>
  <p:txStyles>
    <p:titleStyle>
      <a:lvl1pPr algn="l" defTabSz="91250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kern="1200" cap="all">
          <a:solidFill>
            <a:schemeClr val="accent3">
              <a:lumMod val="75000"/>
            </a:schemeClr>
          </a:solidFill>
          <a:latin typeface="Avenir LT Std 65 Medium" pitchFamily="34" charset="0"/>
          <a:ea typeface="+mj-ea"/>
          <a:cs typeface="+mj-cs"/>
        </a:defRPr>
      </a:lvl1pPr>
      <a:lvl2pPr algn="l" defTabSz="91250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Avenir LT Std 65 Medium"/>
        </a:defRPr>
      </a:lvl2pPr>
      <a:lvl3pPr algn="l" defTabSz="91250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Avenir LT Std 65 Medium"/>
        </a:defRPr>
      </a:lvl3pPr>
      <a:lvl4pPr algn="l" defTabSz="91250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Avenir LT Std 65 Medium"/>
        </a:defRPr>
      </a:lvl4pPr>
      <a:lvl5pPr algn="l" defTabSz="91250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Avenir LT Std 65 Medium"/>
        </a:defRPr>
      </a:lvl5pPr>
      <a:lvl6pPr marL="457045" algn="l" defTabSz="912503" rtl="0" fontAlgn="base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Avenir LT Std 65 Medium"/>
        </a:defRPr>
      </a:lvl6pPr>
      <a:lvl7pPr marL="914089" algn="l" defTabSz="912503" rtl="0" fontAlgn="base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Avenir LT Std 65 Medium"/>
        </a:defRPr>
      </a:lvl7pPr>
      <a:lvl8pPr marL="1371135" algn="l" defTabSz="912503" rtl="0" fontAlgn="base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Avenir LT Std 65 Medium"/>
        </a:defRPr>
      </a:lvl8pPr>
      <a:lvl9pPr marL="1828180" algn="l" defTabSz="912503" rtl="0" fontAlgn="base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accent1"/>
          </a:solidFill>
          <a:latin typeface="Avenir LT Std 65 Medium"/>
        </a:defRPr>
      </a:lvl9pPr>
    </p:titleStyle>
    <p:bodyStyle>
      <a:lvl1pPr algn="l" defTabSz="912503" rtl="0" eaLnBrk="0" fontAlgn="base" hangingPunct="0">
        <a:spcBef>
          <a:spcPct val="0"/>
        </a:spcBef>
        <a:spcAft>
          <a:spcPts val="500"/>
        </a:spcAft>
        <a:buFont typeface="Arial" pitchFamily="34" charset="0"/>
        <a:defRPr sz="1300" b="1" kern="1200">
          <a:solidFill>
            <a:schemeClr val="accent1"/>
          </a:solidFill>
          <a:latin typeface="Avenir LT Std 65 Medium" pitchFamily="34" charset="0"/>
          <a:ea typeface="+mn-ea"/>
          <a:cs typeface="+mn-cs"/>
        </a:defRPr>
      </a:lvl1pPr>
      <a:lvl2pPr algn="l" defTabSz="912503" rtl="0" eaLnBrk="0" fontAlgn="base" hangingPunct="0">
        <a:spcBef>
          <a:spcPct val="0"/>
        </a:spcBef>
        <a:spcAft>
          <a:spcPts val="500"/>
        </a:spcAft>
        <a:buFont typeface="Arial" pitchFamily="34" charset="0"/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142826" indent="-142826" algn="l" defTabSz="912503" rtl="0" eaLnBrk="0" fontAlgn="base" hangingPunct="0">
        <a:spcBef>
          <a:spcPct val="0"/>
        </a:spcBef>
        <a:spcAft>
          <a:spcPts val="500"/>
        </a:spcAft>
        <a:buClr>
          <a:schemeClr val="accent1"/>
        </a:buClr>
        <a:buSzPct val="100000"/>
        <a:buFont typeface="Avenir LT Std 65 Medium"/>
        <a:buChar char="+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215825" indent="-71413" algn="l" defTabSz="912503" rtl="0" eaLnBrk="0" fontAlgn="base" hangingPunct="0">
        <a:spcBef>
          <a:spcPct val="0"/>
        </a:spcBef>
        <a:spcAft>
          <a:spcPct val="0"/>
        </a:spcAft>
        <a:buClr>
          <a:schemeClr val="tx1"/>
        </a:buClr>
        <a:buSzPct val="75000"/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15825" algn="l" defTabSz="912503" rtl="0" eaLnBrk="0" fontAlgn="base" hangingPunct="0">
        <a:spcBef>
          <a:spcPct val="0"/>
        </a:spcBef>
        <a:spcAft>
          <a:spcPct val="0"/>
        </a:spcAft>
        <a:buSzPct val="100000"/>
        <a:buFont typeface="Arial" pitchFamily="34" charset="0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689" indent="-228518" algn="l" defTabSz="91407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724" indent="-228518" algn="l" defTabSz="91407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757" indent="-228518" algn="l" defTabSz="91407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791" indent="-228518" algn="l" defTabSz="91407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0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35" algn="l" defTabSz="9140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70" algn="l" defTabSz="9140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04" algn="l" defTabSz="9140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37" algn="l" defTabSz="9140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71" algn="l" defTabSz="9140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210" algn="l" defTabSz="9140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239" algn="l" defTabSz="9140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275" algn="l" defTabSz="9140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298" name="Diapositive think-cell" r:id="rId26" imgW="444" imgH="446" progId="TCLayout.ActiveDocument.1">
                  <p:embed/>
                </p:oleObj>
              </mc:Choice>
              <mc:Fallback>
                <p:oleObj name="Diapositive think-cell" r:id="rId26" imgW="444" imgH="44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539753" y="485779"/>
            <a:ext cx="8064499" cy="46513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r-FR" noProof="0"/>
              <a:t>Titr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539752" y="4813200"/>
            <a:ext cx="7669213" cy="16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lnSpc>
                <a:spcPct val="114000"/>
              </a:lnSpc>
              <a:defRPr sz="800" cap="all" baseline="0">
                <a:solidFill>
                  <a:schemeClr val="tx1"/>
                </a:solidFill>
              </a:defRPr>
            </a:lvl1pPr>
          </a:lstStyle>
          <a:p>
            <a:pPr defTabSz="914088"/>
            <a:fld id="{993AFBCD-AEC1-4053-B4F1-4EF9F7BFB660}" type="datetime2">
              <a:rPr lang="fr-FR" smtClean="0">
                <a:solidFill>
                  <a:srgbClr val="3C3732"/>
                </a:solidFill>
              </a:rPr>
              <a:pPr defTabSz="914088"/>
              <a:t>lundi 17 janvier 2022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179391" y="4659313"/>
            <a:ext cx="8029575" cy="16201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lnSpc>
                <a:spcPct val="90000"/>
              </a:lnSpc>
              <a:defRPr sz="800" b="0" cap="all" baseline="0">
                <a:solidFill>
                  <a:srgbClr val="A0A0A0"/>
                </a:solidFill>
                <a:latin typeface="Avenir LT Std 65 Medium" pitchFamily="34" charset="0"/>
              </a:defRPr>
            </a:lvl1pPr>
          </a:lstStyle>
          <a:p>
            <a:pPr algn="l" defTabSz="914088"/>
            <a:r>
              <a:rPr lang="fr-FR"/>
              <a:t>diffusion limité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79387" y="4813200"/>
            <a:ext cx="360362" cy="16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lnSpc>
                <a:spcPct val="114000"/>
              </a:lnSpc>
              <a:defRPr sz="800">
                <a:solidFill>
                  <a:schemeClr val="tx1"/>
                </a:solidFill>
              </a:defRPr>
            </a:lvl1pPr>
          </a:lstStyle>
          <a:p>
            <a:pPr defTabSz="914088"/>
            <a:fld id="{733122C9-A0B9-462F-8757-0847AD287B63}" type="slidenum">
              <a:rPr lang="fr-FR" smtClean="0">
                <a:solidFill>
                  <a:srgbClr val="3C3732"/>
                </a:solidFill>
              </a:rPr>
              <a:pPr defTabSz="914088"/>
              <a:t>‹N°›</a:t>
            </a:fld>
            <a:endParaRPr lang="fr-FR">
              <a:solidFill>
                <a:srgbClr val="3C3732"/>
              </a:solidFill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539754" y="1743077"/>
            <a:ext cx="8064499" cy="273685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9" name="Rectangle 8"/>
          <p:cNvSpPr/>
          <p:nvPr/>
        </p:nvSpPr>
        <p:spPr bwMode="gray">
          <a:xfrm>
            <a:off x="394094" y="4813200"/>
            <a:ext cx="144000" cy="16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 defTabSz="914088">
              <a:lnSpc>
                <a:spcPct val="114000"/>
              </a:lnSpc>
            </a:pPr>
            <a:r>
              <a:rPr lang="fr-FR" sz="800" b="1">
                <a:solidFill>
                  <a:srgbClr val="3C3732"/>
                </a:solidFill>
              </a:rPr>
              <a:t>–</a:t>
            </a:r>
          </a:p>
        </p:txBody>
      </p:sp>
      <p:pic>
        <p:nvPicPr>
          <p:cNvPr id="11" name="Image 10" descr="logo_sncf.png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6218" y="4322050"/>
            <a:ext cx="792000" cy="792000"/>
          </a:xfrm>
          <a:prstGeom prst="rect">
            <a:avLst/>
          </a:prstGeom>
        </p:spPr>
      </p:pic>
      <p:sp>
        <p:nvSpPr>
          <p:cNvPr id="8" name="MSIPCMContentMarking" descr="{&quot;HashCode&quot;:902745191,&quot;Placement&quot;:&quot;Footer&quot;,&quot;Top&quot;:384.343,&quot;Left&quot;:0.0,&quot;SlideWidth&quot;:720,&quot;SlideHeight&quot;:405}">
            <a:extLst>
              <a:ext uri="{FF2B5EF4-FFF2-40B4-BE49-F238E27FC236}">
                <a16:creationId xmlns:a16="http://schemas.microsoft.com/office/drawing/2014/main" id="{A6C19F67-B7DD-42BC-9F12-5B047B272FD2}"/>
              </a:ext>
            </a:extLst>
          </p:cNvPr>
          <p:cNvSpPr txBox="1"/>
          <p:nvPr userDrawn="1"/>
        </p:nvSpPr>
        <p:spPr>
          <a:xfrm>
            <a:off x="0" y="4881156"/>
            <a:ext cx="650765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fr-FR" sz="1000">
                <a:solidFill>
                  <a:srgbClr val="008000"/>
                </a:solidFill>
                <a:latin typeface="Calibri" panose="020F0502020204030204" pitchFamily="34" charset="0"/>
              </a:rPr>
              <a:t>Interne</a:t>
            </a:r>
          </a:p>
        </p:txBody>
      </p:sp>
    </p:spTree>
    <p:extLst>
      <p:ext uri="{BB962C8B-B14F-4D97-AF65-F5344CB8AC3E}">
        <p14:creationId xmlns:p14="http://schemas.microsoft.com/office/powerpoint/2010/main" val="3557409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3" r:id="rId1"/>
    <p:sldLayoutId id="2147483974" r:id="rId2"/>
    <p:sldLayoutId id="2147483975" r:id="rId3"/>
    <p:sldLayoutId id="2147483976" r:id="rId4"/>
    <p:sldLayoutId id="2147483977" r:id="rId5"/>
    <p:sldLayoutId id="2147483978" r:id="rId6"/>
    <p:sldLayoutId id="2147483979" r:id="rId7"/>
    <p:sldLayoutId id="2147483980" r:id="rId8"/>
    <p:sldLayoutId id="2147483981" r:id="rId9"/>
    <p:sldLayoutId id="2147483982" r:id="rId10"/>
    <p:sldLayoutId id="2147483983" r:id="rId11"/>
    <p:sldLayoutId id="2147483984" r:id="rId12"/>
    <p:sldLayoutId id="2147483985" r:id="rId13"/>
    <p:sldLayoutId id="2147483986" r:id="rId14"/>
    <p:sldLayoutId id="2147483987" r:id="rId15"/>
    <p:sldLayoutId id="2147483988" r:id="rId16"/>
    <p:sldLayoutId id="2147483989" r:id="rId17"/>
    <p:sldLayoutId id="2147483990" r:id="rId18"/>
    <p:sldLayoutId id="2147483991" r:id="rId19"/>
    <p:sldLayoutId id="2147483992" r:id="rId20"/>
    <p:sldLayoutId id="2147483993" r:id="rId21"/>
    <p:sldLayoutId id="2147483994" r:id="rId22"/>
  </p:sldLayoutIdLst>
  <p:hf hdr="0" dt="0"/>
  <p:txStyles>
    <p:titleStyle>
      <a:lvl1pPr algn="l" defTabSz="914088" rtl="0" eaLnBrk="1" latinLnBrk="0" hangingPunct="1">
        <a:lnSpc>
          <a:spcPct val="90000"/>
        </a:lnSpc>
        <a:spcBef>
          <a:spcPct val="0"/>
        </a:spcBef>
        <a:buNone/>
        <a:defRPr sz="3200" b="0" kern="1200" cap="all" baseline="0">
          <a:solidFill>
            <a:schemeClr val="accent1"/>
          </a:solidFill>
          <a:latin typeface="Avenir LT Std 65 Medium" pitchFamily="34" charset="0"/>
          <a:ea typeface="+mj-ea"/>
          <a:cs typeface="+mj-cs"/>
        </a:defRPr>
      </a:lvl1pPr>
    </p:titleStyle>
    <p:bodyStyle>
      <a:lvl1pPr marL="0" indent="0" algn="l" defTabSz="914088" rtl="0" eaLnBrk="1" latinLnBrk="0" hangingPunct="1">
        <a:lnSpc>
          <a:spcPct val="100000"/>
        </a:lnSpc>
        <a:spcBef>
          <a:spcPts val="0"/>
        </a:spcBef>
        <a:spcAft>
          <a:spcPts val="500"/>
        </a:spcAft>
        <a:buFont typeface="Arial" pitchFamily="34" charset="0"/>
        <a:buNone/>
        <a:defRPr sz="1300" b="1" kern="1200">
          <a:solidFill>
            <a:schemeClr val="accent1"/>
          </a:solidFill>
          <a:latin typeface="Avenir LT Std 65 Medium" pitchFamily="34" charset="0"/>
          <a:ea typeface="+mn-ea"/>
          <a:cs typeface="+mn-cs"/>
        </a:defRPr>
      </a:lvl1pPr>
      <a:lvl2pPr marL="0" indent="0" algn="l" defTabSz="914088" rtl="0" eaLnBrk="1" latinLnBrk="0" hangingPunct="1">
        <a:lnSpc>
          <a:spcPct val="100000"/>
        </a:lnSpc>
        <a:spcBef>
          <a:spcPts val="0"/>
        </a:spcBef>
        <a:spcAft>
          <a:spcPts val="500"/>
        </a:spcAft>
        <a:buFont typeface="Arial" pitchFamily="34" charset="0"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143949" indent="-143949" algn="l" defTabSz="914088" rtl="0" eaLnBrk="1" latinLnBrk="0" hangingPunct="1">
        <a:lnSpc>
          <a:spcPct val="100000"/>
        </a:lnSpc>
        <a:spcBef>
          <a:spcPts val="0"/>
        </a:spcBef>
        <a:spcAft>
          <a:spcPts val="500"/>
        </a:spcAft>
        <a:buClr>
          <a:schemeClr val="accent1"/>
        </a:buClr>
        <a:buSzPct val="100000"/>
        <a:buFont typeface="Avenir LT Std 65 Medium" pitchFamily="34" charset="0"/>
        <a:buChar char="+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215927" indent="-71976" algn="l" defTabSz="914088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SzPct val="75000"/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15927" indent="0" algn="l" defTabSz="914088" rtl="0" eaLnBrk="1" latinLnBrk="0" hangingPunct="1">
        <a:lnSpc>
          <a:spcPct val="100000"/>
        </a:lnSpc>
        <a:spcBef>
          <a:spcPts val="0"/>
        </a:spcBef>
        <a:buSzPct val="100000"/>
        <a:buFont typeface="Arial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742" indent="-228522" algn="l" defTabSz="9140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786" indent="-228522" algn="l" defTabSz="9140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830" indent="-228522" algn="l" defTabSz="9140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874" indent="-228522" algn="l" defTabSz="9140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44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88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32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76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20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264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308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352" algn="l" defTabSz="9140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5.jpeg"/><Relationship Id="rId4" Type="http://schemas.openxmlformats.org/officeDocument/2006/relationships/image" Target="../media/image2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35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3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44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sv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tiff"/><Relationship Id="rId2" Type="http://schemas.openxmlformats.org/officeDocument/2006/relationships/image" Target="../media/image49.tiff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51.tif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4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9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9.png"/><Relationship Id="rId4" Type="http://schemas.openxmlformats.org/officeDocument/2006/relationships/image" Target="../media/image68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4.jpe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jpeg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8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8.jpeg"/><Relationship Id="rId4" Type="http://schemas.openxmlformats.org/officeDocument/2006/relationships/image" Target="../media/image29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3.jpe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re 1"/>
          <p:cNvSpPr txBox="1">
            <a:spLocks/>
          </p:cNvSpPr>
          <p:nvPr/>
        </p:nvSpPr>
        <p:spPr bwMode="gray">
          <a:xfrm>
            <a:off x="3228319" y="1302795"/>
            <a:ext cx="5828097" cy="190095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 defTabSz="91436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kern="1200" cap="all" baseline="0">
                <a:solidFill>
                  <a:srgbClr val="FFFFFF"/>
                </a:solidFill>
                <a:latin typeface="Avenir LT Std 65 Medium" pitchFamily="34" charset="0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fr-FR" b="1" dirty="0" err="1"/>
              <a:t>Two</a:t>
            </a:r>
            <a:r>
              <a:rPr lang="fr-FR" b="1" dirty="0"/>
              <a:t> </a:t>
            </a:r>
            <a:r>
              <a:rPr lang="fr-FR" b="1" dirty="0" err="1"/>
              <a:t>physicist</a:t>
            </a:r>
            <a:r>
              <a:rPr lang="fr-FR" b="1" dirty="0"/>
              <a:t> @ SNCF</a:t>
            </a:r>
          </a:p>
          <a:p>
            <a:pPr>
              <a:defRPr/>
            </a:pPr>
            <a:endParaRPr lang="fr-FR" sz="2800" b="1" dirty="0"/>
          </a:p>
          <a:p>
            <a:pPr>
              <a:defRPr/>
            </a:pPr>
            <a:r>
              <a:rPr lang="fr-FR" sz="2800" b="1" dirty="0" err="1"/>
              <a:t>From</a:t>
            </a:r>
            <a:r>
              <a:rPr lang="fr-FR" sz="2800" b="1" dirty="0"/>
              <a:t> quantum </a:t>
            </a:r>
            <a:r>
              <a:rPr lang="fr-FR" sz="2800" b="1" dirty="0" err="1"/>
              <a:t>field</a:t>
            </a:r>
            <a:r>
              <a:rPr lang="fr-FR" sz="2800" b="1" dirty="0"/>
              <a:t> </a:t>
            </a:r>
            <a:r>
              <a:rPr lang="fr-FR" sz="2800" b="1" dirty="0" err="1"/>
              <a:t>theory</a:t>
            </a:r>
            <a:r>
              <a:rPr lang="fr-FR" sz="2800" b="1" dirty="0"/>
              <a:t> </a:t>
            </a:r>
          </a:p>
          <a:p>
            <a:pPr>
              <a:defRPr/>
            </a:pPr>
            <a:r>
              <a:rPr lang="fr-FR" sz="2800" b="1" dirty="0"/>
              <a:t>to maintenance </a:t>
            </a:r>
            <a:r>
              <a:rPr lang="fr-FR" sz="2800" b="1" dirty="0" err="1"/>
              <a:t>supply</a:t>
            </a:r>
            <a:r>
              <a:rPr lang="fr-FR" sz="2800" b="1" dirty="0"/>
              <a:t> </a:t>
            </a:r>
            <a:r>
              <a:rPr lang="fr-FR" sz="2800" b="1" dirty="0" err="1" smtClean="0"/>
              <a:t>chain</a:t>
            </a:r>
            <a:endParaRPr lang="fr-FR" sz="2800" b="1" dirty="0" smtClean="0"/>
          </a:p>
          <a:p>
            <a:pPr>
              <a:defRPr/>
            </a:pPr>
            <a:endParaRPr lang="fr-FR" sz="2800" b="1" dirty="0"/>
          </a:p>
          <a:p>
            <a:pPr>
              <a:defRPr/>
            </a:pPr>
            <a:r>
              <a:rPr lang="fr-FR" sz="2800" b="1" smtClean="0"/>
              <a:t>Héloïse Nonne</a:t>
            </a:r>
            <a:endParaRPr lang="fr-FR" sz="2800" b="1" dirty="0"/>
          </a:p>
        </p:txBody>
      </p:sp>
      <p:pic>
        <p:nvPicPr>
          <p:cNvPr id="7" name="Picture 2" descr="\\commun.ad.sncf.fr\campus\Home\RESSOURCES\Visuels\logo-sncf-peti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1132" y="4392011"/>
            <a:ext cx="966353" cy="5606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Organigramme : Connecteur 8"/>
          <p:cNvSpPr/>
          <p:nvPr/>
        </p:nvSpPr>
        <p:spPr>
          <a:xfrm>
            <a:off x="636233" y="1071334"/>
            <a:ext cx="1800000" cy="1800000"/>
          </a:xfrm>
          <a:prstGeom prst="flowChartConnector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0" y="4478345"/>
            <a:ext cx="1541575" cy="387963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DF39423F-C560-44AF-A770-DD78C5D48A05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" b="774"/>
          <a:stretch/>
        </p:blipFill>
        <p:spPr>
          <a:xfrm>
            <a:off x="98367" y="117843"/>
            <a:ext cx="3122055" cy="3046326"/>
          </a:xfrm>
          <a:custGeom>
            <a:avLst/>
            <a:gdLst/>
            <a:ahLst/>
            <a:cxnLst/>
            <a:rect l="l" t="t" r="r" b="b"/>
            <a:pathLst>
              <a:path w="7028495" h="6858000">
                <a:moveTo>
                  <a:pt x="0" y="0"/>
                </a:moveTo>
                <a:lnTo>
                  <a:pt x="6915668" y="0"/>
                </a:lnTo>
                <a:lnTo>
                  <a:pt x="6952411" y="219663"/>
                </a:lnTo>
                <a:cubicBezTo>
                  <a:pt x="7002551" y="569921"/>
                  <a:pt x="7028495" y="927986"/>
                  <a:pt x="7028495" y="1292112"/>
                </a:cubicBezTo>
                <a:cubicBezTo>
                  <a:pt x="7028495" y="3343346"/>
                  <a:pt x="6205186" y="5202289"/>
                  <a:pt x="4870994" y="6556512"/>
                </a:cubicBezTo>
                <a:lnTo>
                  <a:pt x="4556185" y="6858000"/>
                </a:lnTo>
                <a:lnTo>
                  <a:pt x="0" y="68580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664611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re 1"/>
          <p:cNvSpPr>
            <a:spLocks noGrp="1"/>
          </p:cNvSpPr>
          <p:nvPr>
            <p:ph type="title"/>
          </p:nvPr>
        </p:nvSpPr>
        <p:spPr>
          <a:xfrm>
            <a:off x="281145" y="270754"/>
            <a:ext cx="7805455" cy="486079"/>
          </a:xfrm>
        </p:spPr>
        <p:txBody>
          <a:bodyPr>
            <a:noAutofit/>
          </a:bodyPr>
          <a:lstStyle/>
          <a:p>
            <a:r>
              <a:rPr lang="fr-FR" sz="2000" dirty="0">
                <a:solidFill>
                  <a:srgbClr val="009AA6"/>
                </a:solidFill>
                <a:latin typeface="Avenir LT Std 45 Book (Corps)"/>
              </a:rPr>
              <a:t>Delay </a:t>
            </a:r>
            <a:r>
              <a:rPr lang="fr-FR" sz="2000" dirty="0" err="1">
                <a:solidFill>
                  <a:srgbClr val="009AA6"/>
                </a:solidFill>
                <a:latin typeface="Avenir LT Std 45 Book (Corps)"/>
              </a:rPr>
              <a:t>predictions</a:t>
            </a:r>
            <a:endParaRPr lang="fr-FR" sz="1600" dirty="0">
              <a:solidFill>
                <a:schemeClr val="accent1"/>
              </a:solidFill>
              <a:latin typeface="Avenir LT Std 45 Book (Corps)"/>
            </a:endParaRPr>
          </a:p>
        </p:txBody>
      </p:sp>
      <p:sp>
        <p:nvSpPr>
          <p:cNvPr id="50" name="AutoShape 10" descr="data:image/jpg;base64,%20/9j/4AAQSkZJRgABAQEAYABgAAD/2wBDAAUDBAQEAwUEBAQFBQUGBwwIBwcHBw8LCwkMEQ8SEhEPERETFhwXExQaFRERGCEYGh0dHx8fExciJCIeJBweHx7/2wBDAQUFBQcGBw4ICA4eFBEUHh4eHh4eHh4eHh4eHh4eHh4eHh4eHh4eHh4eHh4eHh4eHh4eHh4eHh4eHh4eHh4eHh7/wAARCACIAgMDASIAAhEBAxEB/8QAHwAAAQUBAQEBAQEAAAAAAAAAAAECAwQFBgcICQoL/8QAtRAAAgEDAwIEAwUFBAQAAAF9AQIDAAQRBRIhMUEGE1FhByJxFDKBkaEII0KxwRVS0fAkM2JyggkKFhcYGRolJicoKSo0NTY3ODk6Q0RFRkdISUpTVFVWV1hZWmNkZWZnaGlqc3R1dnd4eXqDhIWGh4iJipKTlJWWl5iZmqKjpKWmp6ipqrKztLW2t7i5usLDxMXGx8jJytLT1NXW19jZ2uHi4+Tl5ufo6erx8vP09fb3+Pn6/8QAHwEAAwEBAQEBAQEBAQAAAAAAAAECAwQFBgcICQoL/8QAtREAAgECBAQDBAcFBAQAAQJ3AAECAxEEBSExBhJBUQdhcRMiMoEIFEKRobHBCSMzUvAVYnLRChYkNOEl8RcYGRomJygpKjU2Nzg5OkNERUZHSElKU1RVVldYWVpjZGVmZ2hpanN0dXZ3eHl6goOEhYaHiImKkpOUlZaXmJmaoqOkpaanqKmqsrO0tba3uLm6wsPExcbHyMnK0tPU1dbX2Nna4uPk5ebn6Onq8vP09fb3+Pn6/9oADAMBAAIRAxEAPwD7LooIyCOefSseTRrhrZrddav0jKAA7gXBDA7t3XnGPTBoA2KivGnS0le2jEkyoTGhONzY4HasRPDUsccEcXiDVwsUwkO643mQAodrE8kfJ+TH1rCi1LQLH7TYzeNb92myWSUsZIiMHIO3KjCk+4yeaANqfUfFiNIsfh+3lCn5WF0o3j2BPB4PX1HTnEc2q+MFRpE8KwOB5RCC/TeclfM68ZUbsc846isl5tBa3hu/+E11OK3mkyjNOyqSShABI4HzKP8AgWOtSwx6TqdlHBF4w1na28RukrRE5xnkrkkbTjnj5qANe01bXZGjF9ox08vOEVWlSQsvk7iflJx84I+g9624PMkiV3dkY9QAP61iadd2c0umW9rqct4beXyyZeHbEB+ZsgFjgg59TV3UbiCPUYY5JHV224AXI61jVn7P329NjWnHn91I0djf89X/AE/wo2N/z1f9P8KfWfezRJqMUbOwc7cALx1qqlRU1dkwg5uwl9dXcVq8kMW9wQANpNMgvL5/s++HG8Df8h45P9K4HwN4g0S6n1X7LqF3MYgnmB7crty5HHzHPNdFLfWLatpw+1TBpBHsXyjhvnIGeeK8hYuUrSvbyuu57NXL3Sk6bjt1s+1zoTc3Xluwj+YEYG005bi5LRAx8MBu+XpzXOabrWm+TdyLcTsqFA2YiMZJx3qaTUbGTU7Ai4mBlVCi+WefmI554q44u6T5vxXc55YOabTj+D7G19pu/LZvK5BGBtNPW4uS8QMfDAbvl6Vzn9s6bPY3DJczhY3TcTEeM5x39qt2t7ZtNYqtxKS6KV/d9eT154pxxd2ve/Fdwlg5RTvH8H2NWyuruUSedHtxjHykZqVprgXCIEyhxk7elcZca1pSaTczNeXAjWWNWIhOQTuxxn2NaulapYyppwjuJm82NTHmMjIJOM88UqWMbSi3+K7lVcBOKcuX8H2udGHk2njn6Uhkl81V2/KcZOK52yvrJbWdxcSsoZAT5Z4zn3qcajZ/2haRedLvdUKjZwc9O9axxqklr+K7mDwkk2rfgasNxcsjFo8EEY+WrKB2UMXYHGSMD/CucfULJrGR/tEoUSICfL7kN7+1SR6lZC7tbfzpS7xrt/d8HI470U8Yla7v813CeEk72X4G8heTO5imPQUEuHCZJHriuc0u/svss7rcSuodASY8YyG96sG7tTqtuvnSbmVCq7ODx9aqONTjHz80KWEkpNW28jcYOgyGZvqBSgMRu8xh7cf4Vg32oWYsTI00oUSKMhOc4PvU8F1bsYNsrndEpHydRtq1jIuX/BIeFko3/Q1ULuDuYpj0A/rS5fdtySPXHNc9YXloLSVxcSsu9QT5Z4OD71Y+3Wv9oRRebJvZFIGzjBXPrUxxsXFf5ocsLJSen4Gy29BwzN9QKXDY3eY3rjj/AArnLm+s0sC7XEoXzQMiPvg+9W47y1LRKJZMmEEfJ22Z9fSnHGxb/wCCglhJJf8AANZN7jlmXHoBS/Pu2ZOP72Oa5/S720+xyutxK6+YoJMeOcH3oe+s/wC3Uh8+XzCgIXy+PuZ659KSxqcYvu+6H9UlzSVtvI6Bt6Dhmb6gUu1sbvMbpnHGKwLu7tfsQYzyBfMAzs74PvVlLu3EiL5r58oN9ztsz/KqWMi3/wAEl4aSX/ANVd7jlmX6AVS+0Xn9p/Zth8jp5m3np69OtUrXULNrRpFmlK+YBkp3x9aWW6tzeMvnSA+UTjZ22Z9fSonilKMbPquqKjh3FtNfgbD70Hysz59QKXDY3eY2cZxxiuYiv7GPTzIbmYqZcZ8s5zt+tX1vbU3QQSybvK3Y2dtmfX0pwx0Za97dUE8HKP8AwxoXc9xHGpij3Enn5c1MjyEDI/hyeO+Kw59Rs47MSNNLtMhAIj74+tSre2v2/b5sm7y92NnbZn19KmOKXNv26obw0uXbv0NK5muEjUxpuJPPy0xbi6N0YzH8mOu32qi+o2f2USebLt3kZ2d8fWklvbX7VKpmkDCMkjZ22Z9fSlLEptNS7dUEaDtbl79DVWSXZkrzn0okkmUPtXOFJHHfFc+t9Z/YBJ9ol2+aRnyznOB71ae9tftUsfnSbhESfk7bM+vpQsYmt+3VDeFknt+BoQ3F00W5o8NuIxt7VP5ku4jbxj09q5m61OwjsY3a5mCmRgCIjnOB71bOoWf2uZPOl3LEzEeX0ATPr6VMMZ0b7dUVLCS3t36M2TLNsB2859Ke8kgVioyQOOK50alYtYJILibaZWUHyznOB7+9V4dctv7V3GO4CPI8QbAxkZGcZ/2TVLGJ9e3VEvCSW679Dp4ZZmj3MuDn0qRw6ozq7EgZC4FYGpX9mbeJ2nlVdzAYjznge9SXGqWPm3VuZZQ6RMW/d8ABcnvVLGRV0326oX1Sbs0vwNmAySJudmQ5xgAf1piSTtcNEwIQZw2KwLS+s209HW4lKmRgCYznOB71oz31tuuEMkgKo275emKI4tSS1/FClhZRbVvwNNt6Ywxb6im3JljgeSNmZgMhcDmsJr+zWziczy7S7AHyz1GPep5dUsjcXMHmSh41bd8nAx+NV9ci09fxXYPqk01p+Bp2Lzzwb5t0bZIwBjj8aWOSZp2jYFUGcNiub1DUrFbe3ZrmZVYvgiMnOMe9dJfyJFp8ksjEIEySBk4oo1+dPX4bddxVaDg1p8XkSNvTGGLZ9RSkMoLCRj7HH+FVdEniuLLzIWZl3kZYYOabZyxNqMiLIxYbsgrx1rdVk1F/zGLpNNrsXF3MMl2X2AFcx8SfF1j4P0OC/vtY0vTPPmEUcl+shjZsZI/djOcBj+FbWr3UNvJGJXdSwOMLmvDf24IDcfDnQlHONVB/8gyVNTEKEZW3idmW4FYvFU6MtFNnqGi3vjfVtNtdTs7vwtNZ3MImt5YxORKjBCjc46qWOOP4ffE1wvxI3xtbyeFSOjq4nAxuPIx32449c1V+D+p2o+HvhTTAtx5y6ParkwtsyIR/FjH8Jrt66Iu8Uzir0/Z1ZQXRtHNMPHXmttbw95WOCRNvzn8uldCPNEKb9hkwN2Mhc9/wqSiqMiNTx8xIP+zyKKkooAKKKzr3XNKs7t7W6vFilQIWDK2FDnC5OMcn3oA0a5XUW8WqEjsvD+hTgkGTzbkqvJOcfKefun86uL4y8NMkTrqse2W7Nkh2PzOCAU6dckUDxh4b84QnVI1lLKoRkcMScYwCMnORQBXsl8Sl1Euh6LbRKxI2yliOFA4AwCfmH0ApZV15oopP+Ee0qSQqhlRpQCGIG/Bwc4OfqMVE2reHtWv7O+t/EFzHlmhjjidkSZlcqykEcncCOMHjisO6bwq2nlj401uOET5Mi3UoYNhTjIGcEDp0PPvQB1Ft9uF/aLd6dbWqi5PlmFwQw8huox65/ACtO6tYJbpJZIVd1xhj2wawdEbTWuLM6fq91fqZkLGeUuf+PXhhuGeV2sccZY981raiEOoxbpCp+XA29eawxDSjqrmtFNy0djTqtPbwyXSStEGdcYb05qzWdetGNRiVnIY7cDHvTrtKOqCkm3oc14X8N6XZS3xi0KG184LvIVhvwxPc1vDSdPM9tN9hj3xBdjc/Lgkjv60njKNJNFZZJjCPMX5guf0qlpVvGINPK3RYKox8hG75zXmuMaM/Zcqfnp3PTlVqV4e2c2m3br27klhpFgEuIzp0SK5UsAD82Ccd6sNptglxbyfY4l8lV2sc/IASfWub0C1gt4r4/b2kDFM/uiNvJ96m11bcwqftTZ+yHC+Wfm+971hTqx5V7i+9dzStTn7RpVG/k+xesrTR5oZ4ba3s5NxVmSN92cE88H3/AFq9HHo8Mtusn2SKeMKFRpQGXngYJ968s8GIVvJvtSi1X7LwyfOSd6dhit+40kT6lEsd1CTdGJo2dGBxgLzx6qe9TRrx09xfeu5riMLNSkvaP7n2Oln0TT20+aFtJhZGdGKbWwSM4PXtn9a0NP0yyiSz22McZiRQmAfkAPTrXPailrFpFy0l84QzR/MIiSD83bNW9MS3aXS3S7dv3abQYyN3J9+KKVSKkvdXTqu5NWFR02+d2v59jcj0uwWF41s0CsQSOecZx/OnjTbH7TDN9kTfGAFbn5cdKzIEiNrMBcMRuTJ2Hjr71YSNPtdq3nnhVwNp5rqhUg0vcX4dzikppv33+PYsjS7DyWj+xptLAkc8kZx/OlGl2AuIpvsib41AVueAOlU7F4PIlImYjcuTs+tEixtqtu/nsDtXC7DzxTVSnyxagvw7itUu1zP8S3DpdhFC6R2aKrMCRzzjOP5mpBp9p9ojm+zLvQAK3PGBWVthWykzcNjevOw+h96v2zRfuFEjHMa4+XrxTpzpuy5Uvu7imqiu+Z/iSSabZyQGJ7RGTcGxz1AP+NSJZWytHtt1G1Qq9eBjGKq6eI44pP3pYFl/h+tK5jOqRt5pzhfl2+1WpQ5Yy5V+BL57uPM/xJU02yjhaNbRApYEjnkgH/Gnf2fafaEm+zJvVQA3PAAxUF68Ulr/AKxlAcc7fY0sXl+dF+9JPlj+Hr8tF6aaSiunYPftdyf4j30yxkg8t7RCm4Njnrg8/rUi2NqrqRbqNqBQeeBjGPyqlN5S2h3THG8c7fY09PL+1xHzjnyxgbf9mpU4XXuLp2Hadvif4k0GnWcULRx2iKpYEgZ5OKDptl9uW5+yJ5oUAPznG3H8qryLG1rxMQN452+xqwGjDKnmHPlj+H/ZpxcNFyrp2E3PV8z/ABHPp9o8PltaoV3bsc9cU/7HbeYD9nXOzbnnptxj8qpW7RLbN+9YjeOdvsasps+1K3mH7o42/wCzThKDt7q6dhSU1dcz/EI9Os44TGlqgUtkjnrinmxtTN5ht13bdueem3GPyqG8aOS3X94VAfrt9qlDR5C7zny/T/Zql7O9uVdOwrzte7/Ei/snT/s/lfY02b923nrjGetTCwtRNvFsm7Ztzz024x+VV4/LS2P71iN/Xb7VGUjOplvOOSn3dv8AsVHNBJWgunYv33e8n17liTTLGSARvaIVDbgOeuKf9gtBP5n2ZN23bnnptxj8qrqiC2x5x+/12+1QhIxrJfzzkL93b/sUnKCt7i3XYFzu/vPr3Lp0+z8kR/ZU27s4564pW0+0MzObZCxUqTzyMYx+VQTPF9nB8xgN552+1AVPtrN5p+4eNv8As1V6d1aK6diff/mf4j/7LsBAI/sibNxbbz1x1qRtPszM0n2VCzKVJ55GMY/KsrWkhktIs3DIBI3OwnPAq3tj8xv3x/1X93/YrNVIc3LyLp2NHGfKpc769ySXR9NkgWN7GNkViwHPBIHv7VIdMsfOkk+ypuZCpPPIIxj8qzZRCLRM3DY8xudh9BTmWI3s/wDpDZMbcbDx8lT7WH8i6diuWpb4317ls6XYrbrGtlHsDltvPUgc9faq0fhrTUvftG24Yq7SBGlJTcc54/E1UlWCOwQNdNjzWwfLPoPer0YiOoSYmbOw8bfaiFWDduRdOwThO1+Z9e5al0yykiVHtEZVJIHPGcf4UkmmWJmmlNmhd0KseeQRgimMI1gXMp+8edv0qKdY/tNzmYg7GyNvTitJSgvsLp2M48/8z/Emh0yxS3WNbONVDEheepx/hVhrK2aSQtbqS4IY885rCkWD7FF/pTY3vg7D6D3rXDRieQ+Y3CnI21NKpCWnKunbsVUjNa8z69xW0yyMKxmzQqrEgc8E4/wpTptmbiWT7Im6QEM3PzZq1YMrwEoxI3dxiq9vt/tOTEhJyeMV0+zp2i+Va+hh7SpquZ6epWutJsHjjRrGNlUnAIPGce9XtVktotNla6eGOHbgmVgq/TJqDWVUvFukKcHtmsH4uNIvg4NFCs7i8ttsbNtDHzV4yelTJxpRqtR2X6HRhqcsTWpU5S3dvS78zf8AD8tlJZN9hkt3jDnPkuGAP4E1Yht4kuWlWIKxzlvWuN+D7zSWeqtcWaWj/aU/drIHGPLXnIArsLeWNrt0ViWGcjFPD1IzpU5NCx+HeHxFSmne3+V+gX9rDcMrSwrIVHGe1eS/tW2f23wTpEe3O3UAf/IT16pq4UvHukK8HtnNcV8drX7V4Z09MZxdg/8AjjVljZL2VXTsdmRScMfQk31Z0/w4Tyvh/wCHoe6aZbjH0jWt+uZ8FaHp9vpGlagkUi3P2SEsRK20ny9uducdCe1dNXfS/hx9DysU715vzf5hRRRWhzhRRRQAUx4onYs0aMTjJKg9On8zT6KAKq6bpygBbC1AB3ACFeDxz0/2V/IelZOtSeIFubgafoenXcax/uZJ59hY4Hy4wf8Aa9O1aOuw28tgXuri6gihYSM1uzBjjt8vJ69vauYsrrw1eXS6fa+KNUkuEjlbeZ5OUkG7Jcjado4U/wAPTrQBdkbxJC8/2HwxpKokYe333AQtIdpYHapwMk89yv0yJ/wksxuzc+G9GyhBsyZ87+Rnf8vyngEYz05Iqjc3/hd5LbTf+Ek1NJS+0JHLLvZjnG44yPv8ZwOh7CrNu2i/aZ76DxBqwWL/AFkbSSNGM9MKy8/hQBbEurfaLRrrTba1Pn/uxFJvJ/cvndx26fQCr0uoaRHMiajfWMF2Mfu5Z1RxzxwTmsnSJNLmvLZdO1S7uiLk+Ylw7EqfIYdHGegHTjn3ryv4xfA/XPGnxRj8VWWsabbW6pbr5Uyvv/d9egxzXLiHOPvRV/I9TK8Ph8RUcMRU9mrXv92h7xbPMzsJFwB04xVW9WU6jEy24dfly+3OOaks72GaWUR78r1yPerincMimlGtBJSOFt05bHO+MpdT/sKQ2NiLucSptjMRfIzycCodCk1I2Wm/atPWCQqPNXyiuw7z2zxxg1e0DULS5uLhYGlJQDduTHf61znizxPoun+P9M0i6e7F5cGDywkAZPmchctuGOR6V59S0kqylvZbrv3PVownNPDKGqvK9nfY0pYbqCxuGt9LjEhdML5R+YZPvVfUo7ySwQvpqbjaHcREcqfm4HNbGuW8Z06RXmKguvITPr71g3v2O1u7K4e4lJhhVwoi+8AzHrnisKkPZzUfTqu46UvaQb669H2PN7O6vtLhluLNDdTGJUCXa5X7y5xnHPFeheHrq6urbRr24sLQZiQzSKnyxEMc85wMV5r8UfObTtPtoIfMlmuTKokcKoCxtnkZ5+cVwQ8VaXpcIs76G8W7s0ljdIUVoySzsMMWB/jHauCNflaT/Nd/Q+xoZN9fwynTerfbXa3e57x4m1zSltIYpNQ0yCGSb59ssZzhWI6k1iaV4utA5A1+yDQXIjt1zEMoCMdvc8184/B+6aPxO7Wdus8i2rgq7+WMZHOcGu7u5dSk8O+IZPsFuImmnMh+08p8ozgbef0qJY1wltt/w/Y66nCEYyVP2ujt26u3839bH0EuuxrZz4k00Sb02r5i/MPmycbu3H51j3Hi61j1Bkk1+xhnSWJEgDx4AITj17nvXh7Xl7da5Z7NPgDrBNhTccEEpnnb9KwtRvp44tVtXs4wzXEm4iXIUnHtzRDHSVtNvP8A4Ao8Gwq2XPa/p1dv5vK59Raxr2l2bQI+rWFjFIzbmSWP5iBwOc+pq94c1S2vobadbq0ulMjokwdcsA7KvTjoB2rxCXUNUt/FNhM2kWu/7LcKqC74ILRZOdnGMD8667wnqupQ+CdQv5NHg+yRahO8zLd/OuJgWCrs5x9Rn2rqwuMVWSi1a3+fofPZlkE8LRVWMr3811uu/l+J6q0UhtXAskJ3r8uw+h5qxEriSEfZ1XCD+Hpx0rC8MXca3FxavHIrMgkB4IwDj196xdW8TWkHjTYbW5YW9xFbswK4JIUZxnp84/KutVowhGb6u267vyPFpYOpiKkqcNbK/wCXmdvp6yNHIJrZU5GBtxnrT3jb7ehFuCoA+fb04qkk1u1s+JJMB1z8nsfetKFk8mMhiR5Y7dsV1UnGcVHtr0OGonFtla9jkFt+5tVc7xldpPY80kfn/aIs2ygbBk7eh29Kdpk0M0cnls5AIzlcevvUUwi/thSZG3YHGzj7vrmpdmozXVrsNXTcX0JII2khZZ7VRhgQCuOxo2SC/QLar5YUDdtPHy+tU9Umto7ENJJIF80DITJzg+9aNvJGbGNlZtvkgg7ecbaIcsny9rPoOSlFc3cr3izpajyLVWYuMjZnjB5qzGmURmhUSeWM8d9vSqGlyW9xbSeVI+A4yWTHY+9V3ntV8SpbmSTztoGPL4+565qVUSSn0dluivZNtx7XezNK2iJgYSWyr8wwNuO1ShX+1r+4Gzb97H+zWXq8ltDYoZZJApl4Ijzzg+9W7y8htNCe8Id0jtt2AMEjbV05K/L2t2InF25u47U1mS3T7NbLId/I25xxVhFPlqzQqJPL5GO+3pWF4W1OG5Nzb+VLGybHycEEHI7H2qP+1dP/AOE2Gn+ZP9p9PKG3/V5659PaoVZWjU/maW60NFh5ycoJfCm9mbkCOYD5tuq/NwCuO1Qt9oGqHFqvlbeH2f7Hr+lZPjDVILdbW3McrtIXcFQBgDA7n/aqxb6jaT6SL0+aiG0LldgJACHPf2pSmubk7W6oI05cqlbe/Rl92uBbjbbrnf02+1RXDzRXEszW8aosRPmMuBnZ659eK5exvNN1fRjJbXFwqR3BBLwAHO0dt1XNXa2nkmsYpn+0LCrANHhTtQN1z6D0rnVfmt8uq8zplhZQbVtdb6PyNOxu5rqyYiGCR1k5VBnAx14NJJq9rFqMkUtzYRhVKndKoIbb0PPrxXE3+pBblVa3JaZMr5bDACHnOcf89B+RrzPxJql3c2Mupx6ZF9kbUxKhe4w5xc8ArtwORjqa5amN9na2u3Vf5Ht5bw/LGu8nyp6dt35vyPWfGvia3tbi0hXVbGCNkdiFaNsnKjvntmm6j4taPwwb3+0rCMm3iJuAyFhnaGOOnQntXl2harqWo+Krma10m23rZRoyPd4GPMcg52fpXD2evOt5baeNPUzR6ipz5vBYT7sdPwzXNLHSley/Ht8j3sLwnDmSk0+W19uuvfyt5n0F4R8VW+oNfR/2zY6hDF5RQyNGNrNv3dMZ+6tdG2t2/wDaNxtm00xeW+x/NX5js4Gd3PPFfO/iTW7pfEfnTaXErm0RdouNwwHfnO33qZLrULbwHpd62m27W0VzBKGFz8zYnyBt28c8damGNlFLr/XoVX4Wp1JKaajzWVvd6ryaXTtrc9d8ReKY7eaCG41Ows0KMwUNHycgZ5zWpc+JrePwzHqEmq2Nu7wwGS5DpkBmQMcHI6E9q8Fu9QvfEPiGS5ttOhhaO0jRke4/23IOdvvT9I8QXDaTo2kx6XGXiu4dshuMBismcfd4zVfXZK+n9L5ErhNLkk5bNXWnXXv5WPePC/iixvpr2OHXrPUoIvLKO8kfyswbcPlx6LXYlRIZJI4I5FeMlWAyHBHr3zXgFt4i1LTPFF68uiW8kktnANgveAA8uDnZ3yfyr2bwlNC/h7Tss6sdPjLALkD92O/eu7BYn2itL+tz5vPMq+qNVIqyduqfRX+H/LUtXcdwtvEI9PRjubK7Dx096vQiZr2RZLZRGQfm29azNSit7i2gPnuoDN/yzznp71afyJp7iASOGKMD8nA/WuiDtN/Lqux4kleK+fR9zVj3RRgRRgAk5AFJIhjMk0UQ8zBwcdao2EcdpZhDIzguxyEx2HvWnLIpRl5GB6V6FOXPHXQ4prllpqVlEk8StcQAsCRyvQVDq+m2+tW7afqEbtb71cbHKMGUgqQRz1FXYJESIdTkntVKG0FtqE160u4fMSoX1pNaLrff08+5UJuMuaLs1t6+XY868W6jb+CNdk0+x1yTTIZ7VLjbK6yGR8upOXBPRVGBXm3wO+I3xW174swaZ4hhn/siRLgl20wRBsIxQ7wo7gfWvWfiV4H1DxnqtvqOnXtrbxxW/klZ92SdxOeAeOah8C6Tb23i26gXUJJbhYXidDBhQQVBIbdzyPSvPnCpTrrl+FtW10+SPq6OMwlTAT9pFSq8ru2rtPZa26779DnP2h/HPxC8Matolv4P0u0vI7iGR7vzbbzChDAL/EMZGfyr0T4iwi70Ky6MPNDcdPuGvLP2hPgZrfxE8T6fqmna1p1nFbWfkMtwr7mO9mz8oPHNewavZtH4e0+0chmhVEJHQkJit66nKjUUl0R5vNhqSw06Uk5K97fqL4dt9cjFkWurQ6aIIwsYQiQDy+nud2Oc9O1dDWR4e1KO5L6ettcxPaIis8iAI/GMqQeentWvXp0vgj6Hz9V3nJ+YUUUVoZhRRRQAVj6hceIkuZlstPs5YR/qneYqT8oPI+uR+VQ+ILyS18SaBF9tmhiuZpYjEkRZZW8skBiPu4xwTjmta+vLexiWS5kKKzhAQpbk/QUAYsN14xM+JtJ0tYfKZgRctnzNvC9Om7v6dhTLifxeQZLXR9JU/JsWac7gON+dox3baB1HUrV7Utd0aKJ4bjUBFvCruVWOC/C8gEZ/wrmorfw2lzqKp4q1nfKEnkBu5CIBuUZTI+UE4yOwPYUAbk0vibcI4dI00jCMZGmO0nblxjGc78Y7EckiofN8XRLK/wDYujyMsqeWI5yMpvO45I+9swQOOSRnHJz7mXw3dwRbvE2p5W1UpLDO6lo+qn5RgtyOcbuMHvUNrJ4Xjs42i8S6zLBMiyrvllkLj+8CVLdjx9eKANV7nXM2zXemw2rrdAQrG4fK+Q27OP8Aa3D6Aetb9iZJbZJLhMS9xjHesDTzp02owyWWp3N28lzmQTOxAPkNgqCBgYI+7xn3rpAwjwhyTWTi+fmb0saKXu2tqZOjmRJp2uoEt0xwxXbnn1Na8bIyBo2DL2IORXJfFTwl/wAJf4Pm0T+0fsPmTRyed5W/G1s4xkdfrV/4c6B/wi/grTdB+1/bPsiMvneXs35dm6ZOOvrWOHUqcvZ20te/zOutGjOh7ZT9+9uWz2tvf9Cj4IGofb7z7dpq2ke0bGEJTccnuetcj8QrfWpPi/oktl4YivrFTa+ZfG0ZzFiU7vnBwMDn2r0/UIR9lYM5ALDkDNPs4QLeLa5IA9OvNc8cO1FUe2t9O51Usx9nWliFFaq1tbbbnnHxM1bxNHo0H9mrOjNdhZDb2wkO3Y55GGwMgc4rzaXWPHtxpuoSTtqzXEO+O1X+zACyhQVwPL55Jr0f4S2Fhp15q8ltqNzcl1jDB7cR7fmbp8xzXZXkkB1i03TShyE2jZwfmPfNeXKi60FUc3d+a7n0NLMaOXSeHVCM7a3cbdns035eh89fGLT/ABBDZ6RJoB1/UJQ0glAt3kMY2rjonGefyrw7Wh4lXXjbXmn3onlZfNSW2ZZCW9QRnkYr9Bw6TRuqyOMEZJH/ANevnn4pa41n8V7zSvsokWS4tAZjJgjdHEOmO31rPE4RUYqSd76H0HC/EM60nho0kuVXvdK/vLy8/wADxz4SaXqVh4jmm8V2V94ftDAyx3E0TWwZ8/d3MMHgE49q6rUrXWJLPVzpTatd6VJLKUljjaSKVcDc28Lg9Dk57VW+O50f/hA/9E1K+nH9qw7/ADbUJt/dzYx85z39K9b+Btxbr+znp8ayyljp97tGzAPzzdeeKx+rxqS5np/Xc9LEZvUw1KFa3M21Gz06t3ta/keQ6nHftd27+GpdQvp1R/M+zq0zIp29Qo4BP8q4XW7rxRb+IJLW6tbyNGdWn86BlYE8knI44wa+jvhleS3GsXX2+FbNFsvlaF/NLHzE6ghcVnfE24vRF4ijtrWGa0MYzPJMUkx5Mefk2n/0KuVJRp81juw+az+uLDcm1tbr+ZdbWe+yPJ9V8Qa79pgnh1O6lmRXUN1KqcZ7d8D8q9N8DrqN38JLm5uNS1kTzSTSG3XcI5Pn5JG3nODnntWTp1/qdp4mtpv7NtXf7LMoT7UQCC0eTnZ7Dt3rstK8QbfDc+pS2Mqm1e4jkjSUFS29uhOOPnHanQklPXQ585qVJYaMKVNdOsX1lZbdX1Oq8FXd02pXbWdxLfyCEZEnz7RurkfG1p4k/wCE4urm2sNTCGaGb91buY9wRDnpjqP0r1CfW7u11ZW1zTYrJfszCM2tx5+471znKrj9a6O21C2nigKGUCWIMuV7Ed+a9xUabtBzva3bufmMMXXwzlVVO3MmtPl1T6WOS8PXGrtPcRss9xHsVsS24ADZPoo7VNc32tpdyBJbtGWZFSBbcFNvy5H3c45PemHWbbTI1hgiuLxrhiecR7Qg9yc/eFdR4c1OPU9Lt7pY5Id29CjEHBRmQ8j3U0YS07R5tfVdzDF0pwj7VwXK/wDLte/RnFQaj4oWMC4t59PBY8xWmN2AMZyD6mrv27xEdNacW0skggkKzm2+fIDbTjGM8DtXYXGyS3x5jKNw52+x96aJ4UuY4Szlwg/h4+79a0VHlSi5uyt2Mp4mM5SkqaV7/ocJo11r919ojuIJ7tF2MqzWuAD8wJGAK2PEt7r9roN39gtHR49PJjMdvuZX8roBzk57YNbNxfWq2e9mm2+YB9znOD71oW00brCys+GjBGR2xU06Seim76di5YnlkpumrX26dDxzwzrPjmFbxYLe8ux+6IWewwB9/JGFX0FS6rqXiwas10sV5HcBo/uWQO0EKDj5T2Jr03xFd20NhG88kwUygDamTnB96oG+sRqUY8243fZwwHlDGPKz6+lYOn7JqHPezXVeZ6FXGrE3qRoqN09l5JdLHFarfeI5byO3El/NbeWXObMEB8gDnZ6E1t6pca/N8O7lDbzmU6ewDLbnzM4OMADr07Vt+HNX0+awnlgkuWQSqp3RgHOD7mtyO6ha5RQX3MoI+X/Zz61rRgpxT59XbqvM4qlZ0aiUqS91329DyHwBP4otJdReOHULossIBurY8DMmccD2rj/7b+JX/C/0jbTb4aV/aKoZf7K+TytgB/ebOnbOfxr6D12WBbSMzSSAeZwVTPOPrUWoNAdNuN00oT7E+cJnC+UecZ647Vn9X5Xyc17W6o9SlnMOedT2EffVtvRdv8jzj4jtr15PpjCO9gCrMCbSA88x4BwD71iabqHiyPwpEn2jVTdeYYTbtYg5iMpTkeXn/V85z716B8K5NPXRr02d3czJ9oXcZIAhB2+m41sFrZfFhkNxN5gBOzy+P9X659PasfYuXLU592uq/pmssfToRlhfYp8mt7avrta6379EfP8A471f4jaEtpb+F7HUhBLveZYtJ8wbhgAn5Djiqtt4q+JQtYb7UG1KG4Yqtwz6WqbUJCtnMfHy19KalqFotojtJOqmQjhMnOPrXnXiVrFvGt5LDeXMl6VQrA8IWMny1wC+444/2aVWgk0oy7dUd2X51B0mqmGi2k3e172ez0emv4I8s13U/Fl/qUX9mXGqXMcMJ3NbWudrM3QlE9FHX0rjNTi+Io02e0i0vX3iQtJHEbCQjcG3A/d9ea+mdMvrv+07i1ubNY5WhjkHlT7htDOOSQOcmrmq3Vs9ldakJLjdNbFfJ2DgugT72ffNYfVoqzb7dUduF4qcWqUKKXb1Xy8z5Z8CX/iuxnuZ/Ej6lo08iqsRmiaAyKDk43DnBP61y0t5q8euTTRLN5azNJHN5Z5Ocg5+tew/ExpodQ0/T44i8kcMkzGRwBh2UDGM/wBw/nTWu9Ub4UWVr/Z1r9n8yILN9qO4n7Rx8uzjnjr7+1ck5RUm0j7PC4qSpU6jim5OK3S011/4B5Rfaz4guZFmkluJZcbSxTJ29QPzJqWLxF4mlhi0ma6uf7NRl2x7MKMHI5x616J4el1K31i52WNrI5gjyDcEADc3fbVPZqLaJZkWtt5bXce0+eck+dwCNvrUOa2sdirR5knFaOPWPZ+RxF5rPiCxnEmkz3Jd1xIUTccA8dvc1tfaTb6BbXltfTLqCMkgQPyr7uTivSfA0utWfiHUBFpllNI1rDuVrwqAN8mDnYc9/wAq5CzlvpJLKNLO3yb1duZyMt5h4Py8D3pOStsYwxPPNx5VZcv2o66Py/4cb4M1J9Uu7yfxDrVzDKqRpGzS+WWXLcdOcZ/Wu10Dxpr7aVpNtY69PJcO0UDQxwRuwiztbjYTwo6/jXO61rF9oviGT7Vptu8ktrHhY7kkABn5zt9/0rtfAuvaha+GfDQl0mA2jSRxJLHd/vCXLKuVKADlueelVTbUt7Hl5lGMqXtHSUvhsm4W+F7af8OdFoeoeILrUbyDUNS1VLWKKNoGNmq5di2/nyueAv50/wCHeqeKrzX9JOrTai4nZhdpNZCNcbGPJ2DHIHet638Rv9ql0kadMZrZFndjOu0rJkAD3+Q1f0zxHDqUMN79luIYL6MlcsGKgqTyPwr0qEVzRlz7W6/16HwOLxThCcZYeK5klfTTTdWXW9/VG14qk1G1W2XSbMTht/mYiL46Y+neofiVdanY+B7270bzk1BfK2GGLzHGZFDYXBzwT2rW8OPE9gxhZ2XzDyy4OcD3qWBo/wC0HAZt3PGOK9uMeaLlf4/w06HzEKypVIXgnyO7/va3s/yOK+DOo6/qem6k3iR7p3juFWA3NuITtKAnA2rkZrsoWuJL2SKaL9xzztxn8ayvGhthNbfaJpYztbGyPdnp7it8JhS27jHpU0U+Z0r/AAW1vv6l46rGrP6xGKip9EtFay029TO1eW9s2hTTYNyNkvhN2DxSz6XZ2JuNS0+xjW+cHLgEliTzV8ReYow2Me1HmpKzQjIb1xW3sldtvfby9DkVZpJR+fn6kOlPcXFpvvY9su4jBXHFGpR+bbRr6EfyqcFYV2tk59BVLXby9srW3eysYbtnkCMJblYVUEHnJByc4GB61qqd6fI3qZOdp8yRb0+aGWDbDIr+SfKfB+6wHIPvViuOOq+OlMv2fwdpw5U7f7TXqVUsCQvXJIz/ALPuK6TRp9RuLQyanp8djPuIESTiUbcDnIA9+PatkrKxm3dl2iiimIKKKKAEKqxBZQSpyCR0NKRnrzRRQBT1GOaPTrg6ba2sl1sPlRynYjt2DEA4H4Gs2P8A4Sdpm82x0ZIhCdhEjs2/+7jA+XOOc/hW9RQBzs0njERt5en6G52jaGnkAJz82fl4GOnXn86dO3ilZblbfT9GaHcBDukcMwzyWAGB7Yzn2roK4PUm8H6ld3pl1rWontnLTiG6uoVQ7mBxjAPOenYDtigDoozqH2yyW+trWIfaW2GByQR5LckEdc7vwAq3fSXa30awx7ozjcdue/NY+iJpqTWY028vrhftPz/apJHOfIbGN/PTB445962L141vo1ZmDcYwvvWGI+De2prR+LYXXHuY7BmtY/Ml3DA27uPpUmktM+nQtcJslIO4Yxjn0pusMi2RMhIXcOgzT9MKmxiKElcHBIx3qF/vL16fqW3+4WnUwPiHeXlpZ2BtZp4UkuSszxRbzt8tyM/KcDcBTvCV5qE/hK5uJpJ5Z0ecQvJFtYgE7eMDP5Vs62iyWJVnKDcOQM1TttUtbL7Lp7ea7uBtYKMcsQM81jKXs8U5SlpY61UVTBqlGHvJ7/f5fqeB/DvXPGx1to9Ut7qws5IyZZItMEeWHKgkJ61f1zxL44gvL6S1a9eG3Zvs0z6eCdgGQclOec811F5NpHwx0DUdf1W8vLu1mmhgK29sN6sWYjgvyK07Q2HjbRtO1zTrq4ghv7PECzwAMPmdcthjjn615ChOy1+V13PqquJouftXTXJtzcrte3be/wA+hQ8FeKbzU9Xa2sNW/tL/AENpZI9inaQ8YB4Uf3mrwP8AaD1HWLX4z300ZeN40tZOE4VhEh6dOwr6Y0FZJb0XVxJEsdrbNCRGGJYuyHPOOP3Z/OvNfjB8L7zX/EGqeIYNatYYZrRZFhkhYsAkWCMg452n86ylGcqC96/z9T0cix2Dw2aOU0oRcbfO60ulbbyPmLX/ABZ4p8QaRJZ6pBaPEs6SqkdjHHlgGGTtAzgMfzr1P4e+LdTsPhH/AGeupLbPFDPHHAIU+UMScfdzyWbv3rxjVdCGk6cXuLrcszrjZHkjGff3r0DwX8SrPRvAA8DjTpp5L1XVLneFC+ZwMrz0x61hVcpRvB/1Y+ylh4KNOEqaeq0co/zPXbt/kdr4K1LVbfXGGlXV7cK1s4m/dGfaAy7eCpxzWX4w1XVpp9YXUL++jmZipgIMSsoVQuUAA5UDtzXpdjJqmha1HFqVhCxvLaQRfZ7rdjY0ZOdyj1FTa7o9zrvh/Vb2KeG3W5gkIjkBZl8tNhGRxyYyfxFcyTlGy+44oZjSp4mNWcFyuy5rpt690vJ/ceOeGbye61of2lqV6iLA+1/MZSCSvGf89K6BJ7NfDepxjW74MZ5dsX2ltrjcOSO+a3bC+1bQ/E9pdy6fayu9pOiot0QMFoySTs9h+dX/AO1tYuvAniGRdLtBbz3Vy7sbw7kJcZAGznH1FZ6M7quKneDUdLx+3H+Z+R12hajYSaxN9n1yTWT9mPy39z54T515XdjFQ+J/GNxZ2Wppp+tLFqdviOztoI0YA7UwqrtOeSeM1fnv/EU3jjT1k0WwWb7BdbFGoEqV8yHJJ8vg9OMc5PpWp4dtNRuNNuLGX7JA15qMsz4dm8vE/IHAB+4eeOtelBOUUoydz4GVSFOsqtemnGy0vF9fJNNaPou1zze41S/uNZtYtf1LULCyWCVkkVDbZkygC7gozxnj2r2L4YSSHwnp32V2ubYtNsnf52cedJyWPWsm60c6QkV/DeLMqu0bLJGV+8AQRgn+6an8Pa3PY2iI+nCWFLso8yTgf62XOQpGePMHfnBq8InSq3m7fPzM80xEcdhIwoR2fkl9ro0tdV1+R1NxNqS2ZaO2Bk8xePKHTB/+tXEXeq68viJ4/MvFlF7FGkItfk8slARnZ0wW5zXch7drV/nkwHGfk9j71GTB/asX72TdsXA2cY2/WuypFy5bSe66+p8/hMRCi5c1NPTt6epxnjq/8SWtjafY7V498rbxHaB84UYzwcdTUGnaz4kPhYXEs18uohtqoLQDCeZgfLs/uV1up2lvcaZ5f2mRAJlOfLz/AAn3q9aTW8UttZ+ZKXEKqDs4PydetKldSV326rzFWnGVFRUVfXozzXxrq/iBb6zgtZr6WzaOR5D9iDgSAqF52ccFq87vPFnxGhuZpWW+RI5SgdtKUYhDbQc+X02d/Svoa+t4ZNP2m4kUeaDny8/wn3rA1rQorrVpJU1B1la1CqrQ8cQ45Of6Vy1aU3JPm7dUe9lebYbD0vZzoxla71W+t7bPe/4HF+B9d8QXK6hDpaLeqnksU+yLhSfMGeFHoK7izv8AWDdQmU3C3PnIrRfZ8KFyAR93pjPesW1kNnIzY+0eeAAF+Xbs69fXePyruNEvoby2tZ8Sxs0ONhAOMKR1z7VrhU7JOXbqvM83NsRGrNyjTS+XkjkviDrV/Yy6dHd3BsoZRM3EK/My+Xjqp7M1cvrHifxHH8NL3VY7y4a6WCTYzWilTHvKg42Yxsr03VbZrh4Lq2lQCIPGwkBGd208Yz/drk9ZguL3RbvQVVUecNZicvlQzNt3beuMmicJqXMpPW3VDwmLotU6c6atF3bt0vr08/PY5L9nrxJ4g1a01uNlhnEMkDKqWiIBuEmThQM/dFP8R+LNdh8S3UNvfyrdrqAgEUdqjMI/MCkD5CfuZp+nLJ8MpZFvguqHVFBT7OfL8vys5zu6580dPQ10NhFLc28PipWVYZWF8Lc53gE5256Z9654qU4xhzO91123PexlajRxM8ZGknSkvd0WrSV1t1afRHO+KNd8Ux6rFb2M2oS2PkbyTp4YCXdjr5f93HFeZzeNvFE+vGK/u/Lna6EMz/YkjlVA4XqEyCFH1r6Ge4j1+2a1k82zNu4kzxJu3Aj1GPu15/4z8N3Glajf6p9ugnW2uReiLYys67w4XPQHBxWdSE1ZqWmnU68qzHCSi6U6Eea21t/X3et1cwf7aMfiFvM8SagkRtFxIZiCW3njOPTnHvUWq+MLhvh6UTX2N4WWLaFUPsE2Ou3OdoBznNdF4a8Q6hrPiS4ubTTIEeGzSNklujggyEgghfbpVHUBr1x8PodMXT7ERSagkaTG8bO43nGV2dN3HXpz7Vzy9ol8TsdeFeGVaEJ0YqSlG+sV3/u+javr8jx7xDquoXOoJM+qXly4iC73kLEDJOM+lTrqV5/wjsNr/al5sVlIh807Qd+eB9ea6Xxroms6T4jjt72Oz857RXAjnLLt3sOpUc5BrM07VLiXS7LSY7SPd9pjVXMuAT5uemPWsX6H2VKtCpThKCTV49V5+RyOua1rtjcRyabfXYd0xIwJJwDwP1NVf7e8RBBCL26EUfzxrngMPmBH4811nxC0u/k1mBLhYIpBbggJIXBBY98CuNsXW91mPR4si4kk8oMw+XNaRs1sb0ZwlFS/w9V2fkdN4M1/W5Jbm4vNYv4ZiFQOshUsoyQDj0JP51Bf3t5b6Wbi0vLoXMbb48MTht3Ue9aelXNx4DvZobyCO7e6jVx5cmAoBPqK276PUr/wHZxrb26QzvHsczkty/GV2/1rNtJ7aGDqKMk0tG468y7PyPO01bXtSP2jUrm6nnHyBnyTt6gfmTXYWmq3UWg6dGmtXyGKSJliWdgsZDZyB2xUNg114bvZoJ4Yp3lRG+SQgAZPtWlpepXU+m6TZR2cX/HxFsZpiMnfkZG3inJ9kVOSaVlonHquz8gi8RaoNSnm/wCEj1MO8SKZBcNuYAtgE+gyfzNdHoXiHUo9M0hNN1q9muw0a/Zx+9AXBDYTaegz9Kfaxaz/AG7eBbOzMn2eHcDdHAGXxzs+tafhjXL+PSNCtJNMiMJZIUkS6+YllZQcFcDr60Qm09HY8XGxpVIX9lGVrbuP8r8j2H4MX+rX2l6gdUac7LhREZYBFwVGcfKM1zfg/wAV6teePbOwm1WSXzLyeOaEwqBtVZCBkLkYKr3q/wCFvGH9jR3Gky6VLJLGVmLCdcYcEAdP9g1o22m3ulwWniFzBNAjiYQqxDkSZAGSMDHmDP0r6Kk3UpUuWXw6y16eZ+YYmrCjXr89Je+rR0W9raaed+mpznx48S3mjeIrG2h1BbaNrPzApiRstvYE/Mp9BXS+DtZ8WX14i38Jaya08xJPIA3NtUg5Hrk1U1bTdR8a6nJe2YtrIW0K27pM5Yk5LAgqP9r9Kr+CtSaPU7WCWzZUeJrcSiUHlVPO3HfYfzrGpOpHEud2oyatrudVqFXLY04QTnBPmva6/LXTuz0rT2ma3zMu1tx4xjiszTJtQfW5454AtuN+1vLxnnjmqd14gms7mW0s9N+1iKFZ3d5xHjcWAAGDn7hqbw3LDd3SX8ZdTcwiXy2UfKGAOM55613uqpSpxjLVPX+up899XnThOcoqzWn9dPmY/jzU9Ys9ZWGymuY4fs6sPLg3Atls87T6CuoZLe40q1OouELIoJZtmWZcFfxyRiqXiiKKSeAyTOhCnAVM55+taV/p9vqFskVwGKj+6cZBGCD7EEg/Wt6Ll7apr26/1Yxn7N06alpvdpa/8EXS1YQytJbxwO08mQjA7gGIVifUqF+nSrdRwQRQKywxhAzFyB3YnJP51JXYcQUUUUAFFFFABRRRQBn6tJrCSwLpdtayod3nNNIVK9MYA69/yqnYzeKWl/0yy0yNN/8AyzlZjt/xq9qWl29+4aaW5TAA/dTFOhz26daxL2x0XQof9K1DWFW4XyAfOmmPQnjAO3hTzxj16UAaUc3iLCF7Kw+984EzZI+Xpx1+9+nWmK/iMWgb7DpouME7BK20E4xzj13ZP0rJMnh28hmkj1XVwpj2vteZSAVIyARkEhScjqTnuKTWR4dBuBealrEQEkccnlPOCHQ8cqMnJ6880AaF3LrANp59rBHKt0RH5Lbgy+S2Tg9Oc/pWvaRmaCOW6iXzx1yORzxWJZtpzXFobGa6YNcksJg4P+obGAwHGMdPWuji/wBWMVk4XqXb6bGilaFkVIFmuC8d5GGj6gFatxokaBI1CqOgFMhxubGalopRsr9RTldjZI0kXbIoYehrJvbZv7VgaOzjZF2/PsBK8+tbFV5o1a4VixBGOMVFekppF0ajizD8c6Fp+qaA1lPo9rqETTI5gmiDqSM4OD6ZpugaaNO07TbO00uC0t4IwqxRxBViG4nAHbrn8a2tXjWSz2uxUbhyBmks1RLeFVZiAOCR71zVKKdfTRWX5nTHEy+rqDfXz7GTpdtcKlwHsIo8lcARAZ5NM8TWs8mh3qx2YdjYyqNseWzsbgVrWcSRiTDsc4/hqyduV5PT0qaeGXs0m/y7lPEuNXnSPjPxB4JvJNDlbRfC1xql2mzEV3DIyqCeSAxUZrkJPD0lv8RtB0/UPD8VmzSWK3UCxkBC+zeM5OOvY96+l/iLo+j6h4IurW51K9hhN5A5dLRXYECTA2lx6nnNcTY+DoV8UaBBaasXim+xvCZbXaxUFR8wDEA5Q+vWvEUbU4xS/Fd2j9UwOcKq51asmtGtn0s73276Wv5noXj/AMLWSvp08lvqUOySRPNhnnZlBXpwWwCVH5CrOkadJb/Di7jWzleJba92yzxkylS0pBy3zdDXoeoxxvbNukdQXByFz6+9MubMXOkSWscpDS2zRqzL0ypGT+dehHARVV27eR+fvO6rw0Kcrvld9W/N/r3PBLbQ7G/ut2ipeavcRQHInmlbywWXOMkdcfpXpOg+BdJfQ7W1u9EkSO5jD3kQuJgpduWyA/rVi602W5jM19OkcaAIPJUuSSc98f3a67RY44tMs40dmVYgASuCR9M1lg8JBy5ZLp5dzqzHPcRUpLkm1Z93fbvovwOfj8K2RmF61ndfa41Mccn2ubcEbBYD5+hKr+QrTsNNWykgit7ILGvzFmy7bmJZiWYknkn861xt2Hk9fSlG3evJ6elejHCQja36Hg1MdWqK05Nr1f8AX/DmLf2txNYFDp8ch81SFMQI6HnFVI/Dto11FI9hIoYpLIizSKnmAA52BtvVRxjHFdJ8uw8nr6UuF8xTk9PSj6pFtNv8hRxlSCtF29LlCKGTyGDWqA7gcbB6GgwyfbkcWqYCj5tgyPlq98uw8nr6Uvy7xyenpWnsFZamPtXqZpgma2KtaITvBx5Y9DzTlt3F5HJ9kQYQfNsGR8tX/l2dT19KUbd45PT09qSw601G6z1M2WK4Ntj7KhO8cbB6GmNbym7DGyjI8sAt5Yz9zGP6Vp4XZ1PX0pdq7+p6entSeGTtr2Gq7XQ5W50Vbi0Vn0tVlST5fLBTgjn7pGegrW0+y+yJDDDZqkSRYHy5IO3nk89TV5oFMW3efvZ+7UyhVKrk8KB09qinhVF79uxdTEOSKCxTfZyDapnf02D0qodDtTqH2j7E27d5v+sfbvxnO3OPvdsVtfLs6nr6Uvy7+p6entWqoLTUy9q9Tzz4meH5tUsLGVNFW6uIZXUYDLtRlBP3WHdR+Vb+n6OkWgW+mf2aqW62Sp5YByDszjOc/e96u+JYYJrSFZZJEAkOCqBu31FaNuifZYkDMR5QAOO22uWGHXtpL07HoVcdUlhYUm9E33/zsc9oukfZLaV104LLI4Db8tlQDjqT3JrP8f6ZJd6NqsZ0wOslvtLRxfOeB0I5rsoY1jjI3E5b0qO6tkkMzGRhujYH5emVxVPC+4l/kYwxko1edaff5Hhvg3w9DaaldNJDqttE8KjePOG4hjxnHof1q/ofh2yntrCGd9ce4/tHe1q8k6xACdmDYwAOAGzn3r1PTrCKKyaNbh2Bk3ZKY7D3rUlRWhdC7YMZHT2rmp4Lngr9PRnpPOakK06ibu+t2vzueOfF3wleSW2n32ieHpNQvi7xTM8kkpWIAFRy/A3Fq8j1DTdEsdXEUkk1nNFqSpLGsjgQgTYYDrjAzX09rNhatYwpJcSqBKxBEQPOB71554h8P6pDdNFaz2UrRalFcxLIXTfm4V1UkA4+8ATzXn4ui72iu3Vdj6jh7O3CCp1JN/Nrr3d1p8jyvxRb+Hp/EQEeo3dzCLVMO80jENvbIzjPTFedaHZ26eL7S4nheG2+2LvuArKQm7Gd30719J6r/wAJavjqbzNN0cXH9mw5UahIV2+bLg58rOc54x6c1548Wtjw3YSfZbDyvt0W0/aX3FvtHAI2cDPfPSuCadNuJ9fl2Yc9NRf937cXun5f8OYfiu18N3OvKI72a6gW1XDvM7ENubIz9MVrQx+Hv+EK0lRqt39q86ESQieTag8znC4wMD0rWstO8RX/AImuVittNWVLOHcGu327S8mMHZ1zntXQ6G3iePwb4YSPT9KaFdQthCzX0gZmExwGHl/KM9wTilTjz6GeJxvs4wipXacftxX2W+x5zqOiW+oau7WMep3sCQoDIolfDEtwTj0xxVbw9pYa70u2ePUkmF0gmjQSBowG+YgAZBAH4V7j4huZl1SVvE8a2U/lx+Wtg5uVK/PyS4jIPtg1e0Lw7JD4v803yMiPLLgRnOGVj69fmrsjhbvlv1S6dfI8atxPOjS1j0vvfZd0rddzjdI8N6a2vX7XU3iBLf7PCIpd1wC7Zk3DO3nHy8ds+9ZltoFja6JoktzJrlvLHdQfaQzTqIV3Hceny44r6HsrdFtQqzORvJyVx6e9VNVt2YzSQy/vUdZArjC/KwOMjnt6V1/2YlFNv8j5r/WyrzOyfTr2Vu3W92cJ4S0PSL1r+40/7Xqa7o0aaeeVmGFJ25JHAz+temahYQTaIbDyN0SoqrGGIxtxjkHPGB3rM04SSiW6umRTIwVVjy2Ao75x610L/wCrP0r1sHQjCMknukfL4/Fzr1FOX9bGb4c06HT7aXyrcwvK+Xy7MTgYHUmvNPBOlyR+OoDJHqPlrNOSkpk8pch+x4HXj6165DjZx61z2mS2v/CTXKpJMZQZMgoAvXnnP9KK9OK9kn0fkPC4ipGNbl6rXcm1vQ7S5uRMtvNvaPy3MU8keVBOAQrAH7zfnWgLOGxsgun26xtHGEjAGSFGABz7CrEjK2DyPwqST/VmulUYXlJI5JYipKMYybaRUt4ftUIe+gVpASBuXoKuJ9wfSmw42cU5PuD6VrTgox8zGcm2LRRRWhAUUUUAFFFFABUV4bgWkptFja42HyhISFLY4zjnGalooA5+5k8ZfZ3+z2uiGbnZvlk2nnjOBxxnPWrkbeIPMtlkj0/aVP2hlLfKcNjaD1525z71qUUAYVrJ4t8x/tUGjhA7bfLeTcybjt4PQ7cfjmlnk8WCzjMFvpDXJA8wPJIEByc4IBJ7VuVyWr2nh2xkvJ73UNRQu2+RY5ZSEJIHAQcdv50AaM7ap59n9sjtt32pvK8nP3fKf7wPfr0rYty3kr5nDdx0rntIXS1urdtMubiYNdYk813OGEDdA3TgjpxXQS7fNXOc8VDVnzFLVWG2/mb28xdo7cYqemTY2c5pY/uDFEVy+6EtdR1VLg3H2tBGmY+Mnb71boonHmVrhGVmY1lLqU6zLdR5AxsBQeprM1O68RQ+JLK3s7f/AIl58vziIlOMsd3PUcVtaMsYll8tnJwM7lApL63jk1SKVpGDDbgBcjr9a83km6UZKTvfv59z0IVYwqyvFNW7eQSNdLC5SMBsjHyjpUsTXLeTuUcgbuBTJGiaFxlwMjPyj/GnRmMNCMt0GOPetY/Fv+PmYPbY88+Idref2baQ/YpI7eS5zMILUNnCNtzhT3NcVJL4vtbyzls9KU2lvC5S6lsYxLGqtJtIJAYYAGOK9j8R29vNpDRyTSovmocqgJzz2zXnHiO10eXxvpVk15fLdyW8McX+jIY+dwUsd+R15wDXk1KThV37dV3PrssxylQ5HBO13s30/wCDbcPgx4m8Ra9rl7bapqV1fwx2YkVJ4lAV96jI+Uc4Jr1fderdQosYEOF3YUcetcJ8MNNC395cfat6rCsZHlYOS2c9f9mvQVaNJYo8sTgY4rswalKlGUpP7/M8bOasJ4uXJBJaaWt07HN+Klu0htljjmijaRvM8iHOSBxnAPvVLQ77xQNTsLfypW08vtd5IFDbN7eoBHGO1dRqHkm0O5pAN46KCeh96orZ276vZ3Aml3KqbV8sYOB65pVItTXK306ruc9CpFRfNFPR7q5r7rnyj8gzkY+Ue9SKZdyZUdBnihlUxkZPUdqcoXKcnoO1egou+557a7EEjXQhJVBu3D+EdOaVXufNQFRjaM/KOuKftVYzyeo7U3an2lDubOB29qlp6a/iO67DI2ujE25BncMfKPepgZt6/KMbRnjvikVV8s/Meo7VINu5eT09KqMXpqKTXYgDXHlHKDO4fwil3XHnD5Rt2/3R1xTnVTHjc2M+lKqLvU7j9309qXK9NfxC67EMLXRibzEGdwx8o6U4tc/aAAg2beu0elSIiqh+Y9fShlUy/eOdvp7UlF2Wv4jcld6EAe68knYN27+6OmKkDXHnD5Rt2+g64/xpixRrCRvYjcP4fapQi+YPmbO309qUVLTX8RtoYGuPK+4N27+6OmKeDN5n3Rjb6d8URqqxn5mPPpT8Lvzk9PT2q4p2WpLaK1xHJLCA8KOQ3AKg9qy1udZXxJ9lEQFgBgHYv/PP169a2sJ5fVuvpWQLW3/4Sj7R50vmf3dgx9zHXP8ASuaumnFxe7XU6cPKNpKS6Pp/X3mnuufK+4N27+6OlOkafcw2AjYew67aeUXy/vHr6UhjXzS2452+ntXRyy7/AInPdGbO+oR2i+TAocucjYOmKuo1yZNrINpTn5R12/41DeRRfZ1DO4G89FHp9amSOPz87mzt9P8AZrnhGSla76dTWUk47d+hFdRM8KBreNvmPDIPQV84eLda8cL45v4LybVbfSF1TY8iWuwRwCUYIcJkAKBgg+lfRWrvBHBH5jSYLHG1Qe31ryjxnbWVt4u1PVbW4uJb9WR1gkiCRE/JwXDEgf8AAa4cf2v26+R9NwvWjTqvmgpXWl15rrrb1Oetr3QbjxZcyXfifV2jFjCFlN9PuJ8yTK564HBx7muK1q40yLwNG9rrN8b1LhWWM3MhVcTdQDxnHNepeHNU8UX/AIzvprfTNHEy6fAro99KF2+ZIQQRETnJPGPSuC1qLXLzwHDaNb6ekMt4iK4uHLbjccZGzGM+/SvEmtFK593gKjVZRlpZ0/txfR+X/DmX8ONShudT1CXVtd1KM+TEqOlzIpPzPkEr1Az+tX9J1S0/s/RreTxFqaIl9EWjF3KFjUSk7gOxHXIq18OV13wtruowxW2nXcs1tCzbrl0VQHfGCEOT1rP0PWtU36Pbx2NoSmoRsha4YbmEpIB+XgZ781F9dGd1Re0qTcVp7tvej/K/LT9T17wlBYatPqL2ckmuxp5IMl6zTshw/AMnIHTisv4ha1400e+1y5t4VstPgOIbqO2j3BSyKPmwSc5I6Vr+E9W1i81vU7e40uyWdILeQ+XesV2kyAcmPOcg9vSk1fR7fXmu723u5be5uY1ufLkhDImNrldwbJ4GM4r04yfslyvV+du58KnGljr4iKcEo7+9vyvppt1tbyF+A3iPXNf0vVZL+/lvjDcxqhkjUFQUyRwBWjq9zqISFre91k3T32y5jEDFVi3tu/gxjGOc1d+GGjS6dZX89xdRy/aZUAEaEbdi+5/2q62eJFMzmR/unIA/+vXo0Kc5UIuT/E8PMsVQWOq+yguV2t91n07+h59Hq0lrqlzbX2qXtvbiGN4A8ZXLEuHP3Oei13Wg3N7cQ2zTtvjeBW3EDklQc1kXskljc/a7dkkSeMRFZAQQVJOeP9/9K1tFt0t5o4fMZpI4gh+XAOAB61tRdpJKXa+p5FVaNtd+hb1GS6iZBarwc7uAai1K1W3tLm8sLWMXxQlWCAkk9asX8ayMm5iMA9BmjV3ji0ueSTdsVOdoya65x+Nv5eWnTsYU5NOCX/D+vco6JLqc2nq99FibewI2AccY6fjVwvdGSRduVGdvy+9Q+GpoZ9OLweZs8wj5wAc8ehNXo8eceueamjFunF8z18yq0rVJLlSEtWfyv3uFbJ46VKn3B9KrX0auy7mIwOwqyn3F+ldMG9Y9jnlbcWiiitCAooooAKKKKACiiigAooooAKy5zr41r/R4dL/szZyzu/nlvoBtx+NalFAGJdTXVtd282p/Y4LZbglHRz8o8p878jHWrMmrab5gxfWv/fYqXX4ZrjRbuGASGV4mVRGxVifQEEY/MU2SOT+0LFjDcMqRvudZSFU4H3hu+bPPUHHWk1cadhJdY0vYT/aFrx1zIOKE1jSwAp1C2DHt5gqhJa6h/ZGtxR/aRPO8vkFn3H5hgFcvwPQZXp2rRWKTz7FpI5XZI2DPvI2nA+8M4bP4880W1uF9LB/bGlYJ/tG2wOv7wcUf2xpecf2hbZ/66CqFxY3n9iaxBFJdiaeWVoW3kthgMbfn4Hbqv4VYkhuv7a06XbcGJIHWRhJhATt+8N3J/A9OopiOA+MHiLxTp/gee58AyW8mtC6iULHHE58r5t+Q3HpWz8Ndd1S68FaNceMJ7eLXnhJvUcIjKwduy8D5dvSt/ULa4uNF1WFLe7illkbbtmO5xxgp8/yggdMjucDNWp4bptesZlMv2dIJBJg/LuO3Gfm68HsfqK544fl6s65Yvmpez5Fe979dtvQpf2tZ+VJm7tOo/iX8alTVdP3RBry0Bxz8y560sNnOul30UiXchmuHbYJSH2sRkK3mccZxgrj0FWpbWRtatboNN5ccDoVDHZkleo3cnj0Pfkd2qCXUxdVvocR421uQWFv9nvF2mc+Z5CB+Ap64BxzWHb3NzMba+e2tZZo4223EttH56bWbbgkbhjjHFeiX1le/2HqUK/aZJprhnjWNtjBSw4UiQcYHqvfj10JFkOtQP5E7IIGHmiTCKSRwV3ck4GPl4x15rnlgFKSfOzrpZhKlFxUF1/E89ttU0qz1a3W11C4gsnhl+0skTKN4KbATs93q3p+vWzQ3bTaveG7W8YWqujDdEGXb/DgjBPJrontdRHhvU4I0u/tEs8hj3SbnKs3VSX4GM4+YY9BWlLBOfEcFwFl8hbV0Lbzs3Fl4I3deOu09OorohQUFZM5J1XN3ZzviTWLJfsw/tAJAWfzDAN3IHGcA471zEmvOulX8ianffbo5ZBZjyWyUBGzA2c8V3d9b3cvh25hitr6OdrgkIs+ZGHmfeDbxgEc43Djt2q5JFdHxNbzDzvsq2jqxyNm8suMjdnOB/dP1HeXhk3e7H7Z2tYx9M1zS31Irb6s81v5Lb/PJChwwAwWA5xurYGrabuH+nW3T++Kp26Sw6Fch47iTfdvhRcEMVaXs2/I656j0x2q4UmPigSb5vKWzIK7/AJMl+u3d1467fxrbkM+Ya2q6fs/4/LbOf7wpRqmmblP2y1zj+8Ky2F0vhWYyzag8jXZKtGzNLtMoxjbJnH0YcZ47VtmZTrogMdzvW2LhxnygC2CDzgtwMcZAzzzR7NBzlddW07Yf9Otev98U/wDtbTtw/wBOtsY/visfdKvhXcs+qhmvSA2xjNgy4xjfnbz13dOcdq1wkp8TNJ5k3li0AKbzsyW67d2M8Hnbn37UKHmHMMfVtP2f8ftrnP8AfFPXVtN3DN9bdP749KqXMUs/h9Via7hd7hWJ+0Ev/rMnDb+n+zu6cY7VdEcx8QySebJ5S2oVY8/LuLcnG7rwO3rzRyeY+YifVrDZ8t7bZz/eFPGradkE3tr05+celUbVJo/DsCym7lc3JIxdFXILnHz+YTj23H0x2q+sc3/CTPL5kxh+yBdnmfIG3ddu7r1529utL2fmHOMGq6bs/wCP216/3xTv7V03f/x+2vT++PSqMdrdS6BBFPdzxzG73mQOcn96SB8r9OnGcY4x2rURF/teZg028wjrI2wAn+7nGeOuPXnmnyIXMQf2tp23/j9tev8AfFL/AGtpu/8A4/rXp/fHpVGO1uB4dtIV1C6Li5VvNLMXdfMztJ35xjj7x47Y4q6Ipv8AhIp5t0xiNoF2hztzu7DdgHrztH1o5A5hr6tp/ljbe2vX++KrDUrL+0/M+0WmzH38rn7vrTbuOaXR9PWH7XETdozYnJYjcSctvBKnrjJ4wMVahjuP+ElvJPMuTD9mUKhf5Fb1A3dfwHQ81EqClbXYuNVq+g59W0/YMX1r1/vinf2tpu7/AI/rXp/fHpVPT45o/D1jHOt3K/2gZH2gh8eYSCW3kkAYOCTkDGO1TiCc6/qEnmXPlPaqoAk+UHn7o3cHrzgfWr5PMjmGz6pYNEu27tG5P8SmnLqth53N5a4x/eHpVG2gvm0DR4pJ7zzvtKtJIZfmI3E/NiTkEdstx2PStYKTqF6yrcB/KVQfNyh4/hXdgHPfA+tR7FXvcr2mlrHKeKNY006xax3GqTR2Zt2YG2VmUybwOSqnnFeV3V5LqGlRtfzao95Peol0wtJFfyPtGCcqgI/dgHIOeK9tis7qPStHtxdXhKXKtI5kyzLknaxMmSOndunTtViKO4/t/VXb7V5Bt0VMS8Zwc7Rv+U++F+pxXHiMuVaV+Zo9vAZ59Tikqd2ra37X8ut9fRHjGmaf4ctvFV06al4igs2soQsqXF4paTzJMruAycDacdOfesa10eyk0mzgmGrHFxG7xtJcfKPMzux2OOc+te7yx3cuk6MYY76FhdxtIhud7hdxJ3Nv+Zcdstx2OMVZEd5/bOruWuBE1siwneNoOGztG7g5Pov1rOOUU1bU2rcT4qa91tPT7T6K19LangOraTZxat5umjVTG0Cq0iyzkkhm4z179PeoYfDekRaXaSx2moJepKjttacFDu5IHY171aJcR6RoQmt9Rkk85Q6rd7TGDk5kPmHeBxxls+lTxR3f9ua0xa7ELW8YiPmfJu2tnYN/yn1+Vc5HJ7P+yaXd/h/kZf6yY3lS5vxf+fTZHjPhm00mPWbybU9R1+1R7eJYpIrm6UyEM+QSvXGRgH1rrVvpbbw9CsPlpttoULrEpm24QHPBYnGc5GetdUBeRaR4bjuHvVn+0R+dmQls99xV8EdsEsOe+BV57hPtOvKgvEkihBMhlLL9wkbF3YGPbGT3qoZZCNrSZliM7q4hWmr+ruvl/wAOznvA2sJ5N2s14BGJEMfnIE6jnGQM9qnGuWrTRrFqk0lyZnEsbqfL2/N6rjHAxzVgTSrpPhlhcX67rlFk+dizDpiQ7snnaOSc8+tX4JAuseIGea8ZUhjJQbgFGxjmP5+v0C8jvXXDDqMOW7PLnX5581kYHiPVrv7Laf2ebKViz7xsjYAYXbjPrz+VdLa6pYC6LPd2ijHJDKDVSaWF4PDzQyX8EbTLsjLMzYx0kO/kdud3JFLE7Lf+Jtt3eyFY0ZUbO2L92eI/m9c9NvP51FPCKEubmb2/A0qYtzgocqVr/iaU+r6Ydu2+tTnplxVXxBq1m2i3aWd3azXPl/JGWVsn6HiqVhdRrpXh3zvt8rSMFVhKykHgZk+YlvTknvSvI3m+KcT3ylYhtIY/J8jcx/PweO23kfl0ShzJq+5zwnyyUrbDPB+rKmjD+0Li0t5zK2FXYgK8YOBx61tJq+meYc39r/32KxTKy2vhf/SLsEsoOS2X4A+fD89eh3dfUVakuIXl8QwxvfRyRwqXcyuwGVfHlrn5SMH7uM8elTSpezio3vYutW9rNzta/Yu3OsablCl/akHp84OfpWnGQ0aspyCAQa5ZXbyvCp+03Y/vDcfnGwD5zu5OSOu7qa6urUbNsyburBRRRVCCiiigAooooAKKKKACiiigAooooAKKKKACiiigAooooAKKKKACiiigAooooAKKKKACiiigAooooAKKKKACiiigAooooAKKKKAMbVNGvLvUTd2/iHUrFDGEMEPlmPI3fNhlJzz+gq9pdpNZwPHNfXF6WkLB5tuVHHyjAHA/rRRQBbooooAKKKKACiiigAooooAKKKKACiiigAooooAKKKKACiiigAooooAKKKKACiiigAooooAKKKKACiiigAooooA//9k=">
            <a:extLst>
              <a:ext uri="{FF2B5EF4-FFF2-40B4-BE49-F238E27FC236}">
                <a16:creationId xmlns:a16="http://schemas.microsoft.com/office/drawing/2014/main" id="{C9DE09B2-B94F-4116-8FF3-D08C2549154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19600" y="2717074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>
              <a:solidFill>
                <a:srgbClr val="4D4F53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D4838A4-4DE3-4DB5-9064-2EF823311BF2}"/>
              </a:ext>
            </a:extLst>
          </p:cNvPr>
          <p:cNvSpPr/>
          <p:nvPr/>
        </p:nvSpPr>
        <p:spPr>
          <a:xfrm>
            <a:off x="281145" y="972954"/>
            <a:ext cx="2320740" cy="114834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defTabSz="40005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fr-FR" sz="1000" kern="0" dirty="0" err="1">
                <a:solidFill>
                  <a:srgbClr val="4D4F53"/>
                </a:solidFill>
              </a:rPr>
              <a:t>Predict</a:t>
            </a:r>
            <a:r>
              <a:rPr lang="fr-FR" sz="1000" kern="0" dirty="0">
                <a:solidFill>
                  <a:srgbClr val="4D4F53"/>
                </a:solidFill>
              </a:rPr>
              <a:t> </a:t>
            </a:r>
            <a:r>
              <a:rPr lang="fr-FR" sz="1000" kern="0" dirty="0" err="1">
                <a:solidFill>
                  <a:srgbClr val="4D4F53"/>
                </a:solidFill>
              </a:rPr>
              <a:t>delays</a:t>
            </a:r>
            <a:r>
              <a:rPr lang="fr-FR" sz="1000" kern="0" dirty="0">
                <a:solidFill>
                  <a:srgbClr val="4D4F53"/>
                </a:solidFill>
              </a:rPr>
              <a:t> </a:t>
            </a:r>
            <a:r>
              <a:rPr lang="fr-FR" sz="1000" kern="0" dirty="0" err="1">
                <a:solidFill>
                  <a:srgbClr val="4D4F53"/>
                </a:solidFill>
              </a:rPr>
              <a:t>higher</a:t>
            </a:r>
            <a:r>
              <a:rPr lang="fr-FR" sz="1000" kern="0" dirty="0">
                <a:solidFill>
                  <a:srgbClr val="4D4F53"/>
                </a:solidFill>
              </a:rPr>
              <a:t> </a:t>
            </a:r>
            <a:r>
              <a:rPr lang="fr-FR" sz="1000" kern="0" dirty="0" err="1">
                <a:solidFill>
                  <a:srgbClr val="4D4F53"/>
                </a:solidFill>
              </a:rPr>
              <a:t>than</a:t>
            </a:r>
            <a:r>
              <a:rPr lang="fr-FR" sz="1000" kern="0" dirty="0">
                <a:solidFill>
                  <a:srgbClr val="4D4F53"/>
                </a:solidFill>
              </a:rPr>
              <a:t> 2 min 30 s</a:t>
            </a:r>
          </a:p>
          <a:p>
            <a:pPr marL="171450" indent="-171450" defTabSz="40005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1000" kern="0" dirty="0">
                <a:solidFill>
                  <a:srgbClr val="4D4F53"/>
                </a:solidFill>
              </a:rPr>
              <a:t>in the </a:t>
            </a:r>
            <a:r>
              <a:rPr lang="fr-FR" sz="1000" kern="0" dirty="0" err="1">
                <a:solidFill>
                  <a:srgbClr val="4D4F53"/>
                </a:solidFill>
              </a:rPr>
              <a:t>next</a:t>
            </a:r>
            <a:r>
              <a:rPr lang="fr-FR" sz="1000" kern="0" dirty="0">
                <a:solidFill>
                  <a:srgbClr val="4D4F53"/>
                </a:solidFill>
              </a:rPr>
              <a:t> 7 </a:t>
            </a:r>
            <a:r>
              <a:rPr lang="fr-FR" sz="1000" kern="0" dirty="0" err="1">
                <a:solidFill>
                  <a:srgbClr val="4D4F53"/>
                </a:solidFill>
              </a:rPr>
              <a:t>days</a:t>
            </a:r>
            <a:endParaRPr lang="fr-FR" sz="1000" kern="0" dirty="0">
              <a:solidFill>
                <a:srgbClr val="4D4F53"/>
              </a:solidFill>
            </a:endParaRPr>
          </a:p>
          <a:p>
            <a:pPr marL="171450" indent="-171450" defTabSz="40005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1000" kern="0" dirty="0">
                <a:solidFill>
                  <a:srgbClr val="4D4F53"/>
                </a:solidFill>
              </a:rPr>
              <a:t>at </a:t>
            </a:r>
            <a:r>
              <a:rPr lang="fr-FR" sz="1000" kern="0" dirty="0" err="1">
                <a:solidFill>
                  <a:srgbClr val="4D4F53"/>
                </a:solidFill>
              </a:rPr>
              <a:t>each</a:t>
            </a:r>
            <a:r>
              <a:rPr lang="fr-FR" sz="1000" kern="0" dirty="0">
                <a:solidFill>
                  <a:srgbClr val="4D4F53"/>
                </a:solidFill>
              </a:rPr>
              <a:t> train stop</a:t>
            </a:r>
          </a:p>
          <a:p>
            <a:pPr defTabSz="40005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fr-FR" sz="1000" kern="0" dirty="0">
                <a:solidFill>
                  <a:srgbClr val="4D4F53"/>
                </a:solidFill>
              </a:rPr>
              <a:t>900 000 </a:t>
            </a:r>
            <a:r>
              <a:rPr lang="fr-FR" sz="1000" kern="0" dirty="0" err="1">
                <a:solidFill>
                  <a:srgbClr val="4D4F53"/>
                </a:solidFill>
              </a:rPr>
              <a:t>predictions</a:t>
            </a:r>
            <a:r>
              <a:rPr lang="fr-FR" sz="1000" kern="0" dirty="0">
                <a:solidFill>
                  <a:srgbClr val="4D4F53"/>
                </a:solidFill>
              </a:rPr>
              <a:t> </a:t>
            </a:r>
            <a:r>
              <a:rPr lang="fr-FR" sz="1000" kern="0" dirty="0" err="1">
                <a:solidFill>
                  <a:srgbClr val="4D4F53"/>
                </a:solidFill>
              </a:rPr>
              <a:t>everyday</a:t>
            </a:r>
            <a:endParaRPr lang="fr-FR" sz="1000" kern="0" dirty="0">
              <a:solidFill>
                <a:srgbClr val="4D4F53"/>
              </a:solidFill>
            </a:endParaRPr>
          </a:p>
        </p:txBody>
      </p:sp>
      <p:pic>
        <p:nvPicPr>
          <p:cNvPr id="227333" name="Picture 5">
            <a:extLst>
              <a:ext uri="{FF2B5EF4-FFF2-40B4-BE49-F238E27FC236}">
                <a16:creationId xmlns:a16="http://schemas.microsoft.com/office/drawing/2014/main" id="{CFBBF1B3-9C22-4974-943A-9CB7E4E655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0780" y="858699"/>
            <a:ext cx="6644640" cy="1762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7335" name="Picture 7">
            <a:extLst>
              <a:ext uri="{FF2B5EF4-FFF2-40B4-BE49-F238E27FC236}">
                <a16:creationId xmlns:a16="http://schemas.microsoft.com/office/drawing/2014/main" id="{FDFF5B52-518D-4ACA-AF3D-8C49DD6810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9360" y="3021874"/>
            <a:ext cx="6644640" cy="1878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ZoneTexte 31">
            <a:extLst>
              <a:ext uri="{FF2B5EF4-FFF2-40B4-BE49-F238E27FC236}">
                <a16:creationId xmlns:a16="http://schemas.microsoft.com/office/drawing/2014/main" id="{4CC3D1B8-1EFB-4670-9F77-1CFC995C4462}"/>
              </a:ext>
            </a:extLst>
          </p:cNvPr>
          <p:cNvSpPr txBox="1"/>
          <p:nvPr/>
        </p:nvSpPr>
        <p:spPr>
          <a:xfrm>
            <a:off x="3118788" y="526913"/>
            <a:ext cx="1736385" cy="184666"/>
          </a:xfrm>
          <a:prstGeom prst="rect">
            <a:avLst/>
          </a:prstGeom>
          <a:solidFill>
            <a:srgbClr val="FFFFFF"/>
          </a:solidFill>
          <a:ln w="15875">
            <a:solidFill>
              <a:srgbClr val="FF6600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spAutoFit/>
          </a:bodyPr>
          <a:lstStyle/>
          <a:p>
            <a:pPr algn="ctr">
              <a:buClrTx/>
              <a:buFontTx/>
              <a:buNone/>
              <a:defRPr/>
            </a:pPr>
            <a:r>
              <a:rPr lang="fr-FR" sz="1200" b="1" dirty="0">
                <a:solidFill>
                  <a:srgbClr val="FF6600"/>
                </a:solidFill>
                <a:latin typeface="Corbel" panose="020B0503020204020204" pitchFamily="34" charset="0"/>
                <a:ea typeface="+mn-ea"/>
                <a:cs typeface="+mn-cs"/>
              </a:rPr>
              <a:t>Pré modification RER D</a:t>
            </a:r>
            <a:endParaRPr lang="fr-FR" sz="1200" b="1" dirty="0">
              <a:solidFill>
                <a:srgbClr val="FF6600"/>
              </a:solidFill>
              <a:ea typeface="+mn-ea"/>
              <a:cs typeface="+mn-cs"/>
            </a:endParaRPr>
          </a:p>
        </p:txBody>
      </p:sp>
      <p:sp>
        <p:nvSpPr>
          <p:cNvPr id="33" name="Ellipse 32">
            <a:extLst>
              <a:ext uri="{FF2B5EF4-FFF2-40B4-BE49-F238E27FC236}">
                <a16:creationId xmlns:a16="http://schemas.microsoft.com/office/drawing/2014/main" id="{F5264EAE-DE98-4F0A-BF1E-3F8D0EB28AC5}"/>
              </a:ext>
            </a:extLst>
          </p:cNvPr>
          <p:cNvSpPr/>
          <p:nvPr/>
        </p:nvSpPr>
        <p:spPr>
          <a:xfrm>
            <a:off x="2784672" y="455815"/>
            <a:ext cx="340975" cy="333920"/>
          </a:xfrm>
          <a:prstGeom prst="ellipse">
            <a:avLst/>
          </a:prstGeom>
          <a:solidFill>
            <a:srgbClr val="FFFFFF"/>
          </a:solidFill>
          <a:ln w="22225" cap="flat" cmpd="sng" algn="ctr">
            <a:solidFill>
              <a:srgbClr val="FF6600"/>
            </a:solidFill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Tx/>
              <a:buFontTx/>
              <a:buNone/>
              <a:defRPr/>
            </a:pPr>
            <a:r>
              <a:rPr lang="fr-FR" sz="1800" b="1" dirty="0">
                <a:solidFill>
                  <a:srgbClr val="FF6600"/>
                </a:solidFill>
                <a:ea typeface="+mn-ea"/>
                <a:cs typeface="+mn-cs"/>
              </a:rPr>
              <a:t>1</a:t>
            </a:r>
          </a:p>
        </p:txBody>
      </p:sp>
      <p:sp>
        <p:nvSpPr>
          <p:cNvPr id="42" name="ZoneTexte 41">
            <a:extLst>
              <a:ext uri="{FF2B5EF4-FFF2-40B4-BE49-F238E27FC236}">
                <a16:creationId xmlns:a16="http://schemas.microsoft.com/office/drawing/2014/main" id="{D52993C1-EC99-4EA0-A3EA-52B0500FAA01}"/>
              </a:ext>
            </a:extLst>
          </p:cNvPr>
          <p:cNvSpPr txBox="1"/>
          <p:nvPr/>
        </p:nvSpPr>
        <p:spPr>
          <a:xfrm>
            <a:off x="7352456" y="0"/>
            <a:ext cx="1791544" cy="678532"/>
          </a:xfrm>
          <a:prstGeom prst="rect">
            <a:avLst/>
          </a:prstGeom>
          <a:solidFill>
            <a:schemeClr val="bg1"/>
          </a:solidFill>
          <a:ln>
            <a:solidFill>
              <a:srgbClr val="000000">
                <a:lumMod val="50000"/>
                <a:lumOff val="50000"/>
              </a:srgbClr>
            </a:solidFill>
          </a:ln>
        </p:spPr>
        <p:txBody>
          <a:bodyPr wrap="square" lIns="0" tIns="0" rIns="0" bIns="0" rtlCol="0">
            <a:noAutofit/>
          </a:bodyPr>
          <a:lstStyle/>
          <a:p>
            <a:pPr marL="85725" defTabSz="793750">
              <a:buClrTx/>
              <a:buFontTx/>
              <a:buNone/>
              <a:defRPr/>
            </a:pPr>
            <a:endParaRPr lang="fr-FR" sz="1000" dirty="0">
              <a:solidFill>
                <a:srgbClr val="3C3732"/>
              </a:solidFill>
              <a:latin typeface="Corbel" panose="020B0503020204020204" pitchFamily="34" charset="0"/>
              <a:ea typeface="+mn-ea"/>
              <a:cs typeface="+mn-cs"/>
            </a:endParaRPr>
          </a:p>
          <a:p>
            <a:pPr marL="257175" indent="-171450" defTabSz="793750">
              <a:buClrTx/>
              <a:buFontTx/>
              <a:buChar char="-"/>
              <a:defRPr/>
            </a:pPr>
            <a:r>
              <a:rPr lang="fr-FR" sz="1000" b="1" dirty="0" err="1">
                <a:solidFill>
                  <a:srgbClr val="FF0000"/>
                </a:solidFill>
                <a:latin typeface="Corbel" panose="020B0503020204020204" pitchFamily="34" charset="0"/>
                <a:ea typeface="+mn-ea"/>
                <a:cs typeface="+mn-cs"/>
              </a:rPr>
              <a:t>Filling</a:t>
            </a:r>
            <a:r>
              <a:rPr lang="fr-FR" sz="1000" dirty="0">
                <a:solidFill>
                  <a:srgbClr val="FF0000"/>
                </a:solidFill>
                <a:latin typeface="Corbel" panose="020B0503020204020204" pitchFamily="34" charset="0"/>
                <a:ea typeface="+mn-ea"/>
                <a:cs typeface="+mn-cs"/>
              </a:rPr>
              <a:t> </a:t>
            </a:r>
            <a:r>
              <a:rPr lang="fr-FR" sz="1000" dirty="0">
                <a:solidFill>
                  <a:srgbClr val="3C3732"/>
                </a:solidFill>
                <a:latin typeface="Corbel" panose="020B0503020204020204" pitchFamily="34" charset="0"/>
                <a:ea typeface="+mn-ea"/>
                <a:cs typeface="+mn-cs"/>
              </a:rPr>
              <a:t>= </a:t>
            </a:r>
            <a:r>
              <a:rPr lang="fr-FR" sz="1000" dirty="0" err="1">
                <a:solidFill>
                  <a:srgbClr val="3C3732"/>
                </a:solidFill>
                <a:latin typeface="Corbel" panose="020B0503020204020204" pitchFamily="34" charset="0"/>
                <a:ea typeface="+mn-ea"/>
                <a:cs typeface="+mn-cs"/>
              </a:rPr>
              <a:t>what</a:t>
            </a:r>
            <a:r>
              <a:rPr lang="fr-FR" sz="1000" dirty="0">
                <a:solidFill>
                  <a:srgbClr val="3C3732"/>
                </a:solidFill>
                <a:latin typeface="Corbel" panose="020B0503020204020204" pitchFamily="34" charset="0"/>
                <a:ea typeface="+mn-ea"/>
                <a:cs typeface="+mn-cs"/>
              </a:rPr>
              <a:t> </a:t>
            </a:r>
            <a:r>
              <a:rPr lang="fr-FR" sz="1000" dirty="0" err="1">
                <a:solidFill>
                  <a:srgbClr val="3C3732"/>
                </a:solidFill>
                <a:latin typeface="Corbel" panose="020B0503020204020204" pitchFamily="34" charset="0"/>
                <a:ea typeface="+mn-ea"/>
                <a:cs typeface="+mn-cs"/>
              </a:rPr>
              <a:t>really</a:t>
            </a:r>
            <a:r>
              <a:rPr lang="fr-FR" sz="1000" dirty="0">
                <a:solidFill>
                  <a:srgbClr val="3C3732"/>
                </a:solidFill>
                <a:latin typeface="Corbel" panose="020B0503020204020204" pitchFamily="34" charset="0"/>
                <a:ea typeface="+mn-ea"/>
                <a:cs typeface="+mn-cs"/>
              </a:rPr>
              <a:t> </a:t>
            </a:r>
            <a:r>
              <a:rPr lang="fr-FR" sz="1000" dirty="0" err="1">
                <a:solidFill>
                  <a:srgbClr val="3C3732"/>
                </a:solidFill>
                <a:latin typeface="Corbel" panose="020B0503020204020204" pitchFamily="34" charset="0"/>
                <a:ea typeface="+mn-ea"/>
                <a:cs typeface="+mn-cs"/>
              </a:rPr>
              <a:t>happened</a:t>
            </a:r>
            <a:endParaRPr lang="fr-FR" sz="1000" u="sng" dirty="0">
              <a:solidFill>
                <a:srgbClr val="3C3732"/>
              </a:solidFill>
              <a:latin typeface="Corbel" panose="020B0503020204020204" pitchFamily="34" charset="0"/>
              <a:ea typeface="+mn-ea"/>
              <a:cs typeface="+mn-cs"/>
            </a:endParaRPr>
          </a:p>
          <a:p>
            <a:pPr marL="257175" indent="-171450" defTabSz="793750">
              <a:buClrTx/>
              <a:buFontTx/>
              <a:buChar char="-"/>
              <a:defRPr/>
            </a:pPr>
            <a:r>
              <a:rPr lang="fr-FR" sz="1000" b="1" dirty="0">
                <a:solidFill>
                  <a:srgbClr val="3C3732"/>
                </a:solidFill>
                <a:latin typeface="Corbel" panose="020B0503020204020204" pitchFamily="34" charset="0"/>
                <a:ea typeface="+mn-ea"/>
                <a:cs typeface="+mn-cs"/>
              </a:rPr>
              <a:t>Frame</a:t>
            </a:r>
            <a:r>
              <a:rPr lang="fr-FR" sz="1000" dirty="0">
                <a:solidFill>
                  <a:srgbClr val="3C3732"/>
                </a:solidFill>
                <a:latin typeface="Corbel" panose="020B0503020204020204" pitchFamily="34" charset="0"/>
                <a:ea typeface="+mn-ea"/>
                <a:cs typeface="+mn-cs"/>
              </a:rPr>
              <a:t> = </a:t>
            </a:r>
            <a:r>
              <a:rPr lang="fr-FR" sz="1000" dirty="0" err="1">
                <a:solidFill>
                  <a:srgbClr val="3C3732"/>
                </a:solidFill>
                <a:latin typeface="Corbel" panose="020B0503020204020204" pitchFamily="34" charset="0"/>
                <a:ea typeface="+mn-ea"/>
                <a:cs typeface="+mn-cs"/>
              </a:rPr>
              <a:t>predictions</a:t>
            </a:r>
            <a:endParaRPr lang="fr-FR" sz="1000" u="sng" dirty="0">
              <a:solidFill>
                <a:srgbClr val="3C3732"/>
              </a:solidFill>
              <a:latin typeface="Corbel" panose="020B0503020204020204" pitchFamily="34" charset="0"/>
              <a:ea typeface="+mn-ea"/>
              <a:cs typeface="+mn-cs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5E38AEC6-D90D-4D0A-9E08-3660BEAB4FA2}"/>
              </a:ext>
            </a:extLst>
          </p:cNvPr>
          <p:cNvSpPr/>
          <p:nvPr/>
        </p:nvSpPr>
        <p:spPr>
          <a:xfrm>
            <a:off x="7415865" y="499273"/>
            <a:ext cx="77242" cy="73158"/>
          </a:xfrm>
          <a:prstGeom prst="rect">
            <a:avLst/>
          </a:prstGeom>
          <a:solidFill>
            <a:schemeClr val="bg1"/>
          </a:solidFill>
          <a:ln w="222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Tx/>
              <a:buFontTx/>
              <a:buNone/>
            </a:pPr>
            <a:endParaRPr lang="fr-FR" sz="1800" kern="1200">
              <a:solidFill>
                <a:prstClr val="white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AE89DC77-61DD-42C9-AF84-87195B105629}"/>
              </a:ext>
            </a:extLst>
          </p:cNvPr>
          <p:cNvSpPr/>
          <p:nvPr/>
        </p:nvSpPr>
        <p:spPr>
          <a:xfrm flipH="1" flipV="1">
            <a:off x="7415865" y="209995"/>
            <a:ext cx="77242" cy="73157"/>
          </a:xfrm>
          <a:prstGeom prst="rect">
            <a:avLst/>
          </a:prstGeom>
          <a:solidFill>
            <a:schemeClr val="accent4"/>
          </a:solidFill>
          <a:ln w="222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Tx/>
              <a:buFontTx/>
              <a:buNone/>
            </a:pPr>
            <a:endParaRPr lang="fr-FR" sz="1800" kern="1200">
              <a:solidFill>
                <a:prstClr val="white"/>
              </a:solidFill>
            </a:endParaRPr>
          </a:p>
        </p:txBody>
      </p:sp>
      <p:sp>
        <p:nvSpPr>
          <p:cNvPr id="54" name="ZoneTexte 53">
            <a:extLst>
              <a:ext uri="{FF2B5EF4-FFF2-40B4-BE49-F238E27FC236}">
                <a16:creationId xmlns:a16="http://schemas.microsoft.com/office/drawing/2014/main" id="{DA902460-6648-4435-8E95-02B1C7D99539}"/>
              </a:ext>
            </a:extLst>
          </p:cNvPr>
          <p:cNvSpPr txBox="1"/>
          <p:nvPr/>
        </p:nvSpPr>
        <p:spPr>
          <a:xfrm>
            <a:off x="3104677" y="2771199"/>
            <a:ext cx="1750496" cy="184666"/>
          </a:xfrm>
          <a:prstGeom prst="rect">
            <a:avLst/>
          </a:prstGeom>
          <a:solidFill>
            <a:srgbClr val="FFFFFF"/>
          </a:solidFill>
          <a:ln w="15875">
            <a:solidFill>
              <a:srgbClr val="FF6600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spAutoFit/>
          </a:bodyPr>
          <a:lstStyle/>
          <a:p>
            <a:pPr algn="ctr">
              <a:buClrTx/>
              <a:buFontTx/>
              <a:buNone/>
              <a:defRPr/>
            </a:pPr>
            <a:r>
              <a:rPr lang="fr-FR" sz="1200" b="1">
                <a:solidFill>
                  <a:srgbClr val="FF6600"/>
                </a:solidFill>
                <a:latin typeface="Corbel" panose="020B0503020204020204" pitchFamily="34" charset="0"/>
                <a:ea typeface="+mn-ea"/>
                <a:cs typeface="+mn-cs"/>
              </a:rPr>
              <a:t>Post modification RER D</a:t>
            </a:r>
            <a:endParaRPr lang="fr-FR" sz="1200" b="1">
              <a:solidFill>
                <a:srgbClr val="FF6600"/>
              </a:solidFill>
              <a:ea typeface="+mn-ea"/>
              <a:cs typeface="+mn-cs"/>
            </a:endParaRP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64C5BE5F-7093-45D8-9C23-712C0FC886E8}"/>
              </a:ext>
            </a:extLst>
          </p:cNvPr>
          <p:cNvSpPr/>
          <p:nvPr/>
        </p:nvSpPr>
        <p:spPr>
          <a:xfrm>
            <a:off x="2784672" y="2693046"/>
            <a:ext cx="340975" cy="340975"/>
          </a:xfrm>
          <a:prstGeom prst="ellipse">
            <a:avLst/>
          </a:prstGeom>
          <a:solidFill>
            <a:srgbClr val="FFFFFF"/>
          </a:solidFill>
          <a:ln w="22225" cap="flat" cmpd="sng" algn="ctr">
            <a:solidFill>
              <a:srgbClr val="FF6600"/>
            </a:solidFill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Tx/>
              <a:buFontTx/>
              <a:buNone/>
              <a:defRPr/>
            </a:pPr>
            <a:r>
              <a:rPr lang="fr-FR" sz="1800" b="1">
                <a:solidFill>
                  <a:srgbClr val="FF6600"/>
                </a:solidFill>
                <a:ea typeface="+mn-ea"/>
                <a:cs typeface="+mn-cs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886670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re 1"/>
          <p:cNvSpPr>
            <a:spLocks noGrp="1"/>
          </p:cNvSpPr>
          <p:nvPr>
            <p:ph type="title"/>
          </p:nvPr>
        </p:nvSpPr>
        <p:spPr>
          <a:xfrm>
            <a:off x="294793" y="272307"/>
            <a:ext cx="7805455" cy="486079"/>
          </a:xfrm>
        </p:spPr>
        <p:txBody>
          <a:bodyPr>
            <a:noAutofit/>
          </a:bodyPr>
          <a:lstStyle/>
          <a:p>
            <a:r>
              <a:rPr lang="fr-FR" sz="2000" dirty="0" err="1">
                <a:solidFill>
                  <a:schemeClr val="accent1"/>
                </a:solidFill>
                <a:latin typeface="Avenir LT Std 45 Book (Corps)"/>
              </a:rPr>
              <a:t>Predict</a:t>
            </a:r>
            <a:r>
              <a:rPr lang="fr-FR" sz="2000" dirty="0">
                <a:solidFill>
                  <a:schemeClr val="accent1"/>
                </a:solidFill>
                <a:latin typeface="Avenir LT Std 45 Book (Corps)"/>
              </a:rPr>
              <a:t> </a:t>
            </a:r>
            <a:r>
              <a:rPr lang="fr-FR" sz="2000" dirty="0" err="1">
                <a:solidFill>
                  <a:schemeClr val="accent1"/>
                </a:solidFill>
                <a:latin typeface="Avenir LT Std 45 Book (Corps)"/>
              </a:rPr>
              <a:t>energy</a:t>
            </a:r>
            <a:r>
              <a:rPr lang="fr-FR" sz="2000" dirty="0">
                <a:solidFill>
                  <a:schemeClr val="accent1"/>
                </a:solidFill>
                <a:latin typeface="Avenir LT Std 45 Book (Corps)"/>
              </a:rPr>
              <a:t> </a:t>
            </a:r>
            <a:r>
              <a:rPr lang="fr-FR" sz="2000" dirty="0" err="1">
                <a:solidFill>
                  <a:schemeClr val="accent1"/>
                </a:solidFill>
                <a:latin typeface="Avenir LT Std 45 Book (Corps)"/>
              </a:rPr>
              <a:t>consumption</a:t>
            </a:r>
            <a:endParaRPr lang="fr-FR" sz="1600" dirty="0">
              <a:solidFill>
                <a:schemeClr val="accent1"/>
              </a:solidFill>
              <a:latin typeface="Avenir LT Std 45 Book (Corps)"/>
            </a:endParaRPr>
          </a:p>
        </p:txBody>
      </p:sp>
      <p:pic>
        <p:nvPicPr>
          <p:cNvPr id="63" name="Image 6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108" y="1330489"/>
            <a:ext cx="1433218" cy="2182159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DBA88535-5979-40BD-A7EC-8086DC5E6982}"/>
              </a:ext>
            </a:extLst>
          </p:cNvPr>
          <p:cNvSpPr/>
          <p:nvPr/>
        </p:nvSpPr>
        <p:spPr>
          <a:xfrm>
            <a:off x="4007608" y="1997580"/>
            <a:ext cx="4092640" cy="114834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defTabSz="40005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fr-FR" sz="1000" kern="0" dirty="0">
                <a:solidFill>
                  <a:srgbClr val="4D4F53"/>
                </a:solidFill>
              </a:rPr>
              <a:t>SNCF </a:t>
            </a:r>
            <a:r>
              <a:rPr lang="fr-FR" sz="1000" kern="0" dirty="0" err="1">
                <a:solidFill>
                  <a:srgbClr val="4D4F53"/>
                </a:solidFill>
              </a:rPr>
              <a:t>energy</a:t>
            </a:r>
            <a:r>
              <a:rPr lang="fr-FR" sz="1000" kern="0" dirty="0">
                <a:solidFill>
                  <a:srgbClr val="4D4F53"/>
                </a:solidFill>
              </a:rPr>
              <a:t> </a:t>
            </a:r>
            <a:r>
              <a:rPr lang="fr-FR" sz="1000" kern="0" dirty="0" err="1">
                <a:solidFill>
                  <a:srgbClr val="4D4F53"/>
                </a:solidFill>
              </a:rPr>
              <a:t>subsidiary</a:t>
            </a:r>
            <a:r>
              <a:rPr lang="fr-FR" sz="1000" kern="0" dirty="0">
                <a:solidFill>
                  <a:srgbClr val="4D4F53"/>
                </a:solidFill>
              </a:rPr>
              <a:t>:</a:t>
            </a:r>
          </a:p>
          <a:p>
            <a:pPr marL="171450" indent="-171450" defTabSz="40005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1000" kern="0" dirty="0" err="1">
                <a:solidFill>
                  <a:srgbClr val="4D4F53"/>
                </a:solidFill>
              </a:rPr>
              <a:t>Predict</a:t>
            </a:r>
            <a:r>
              <a:rPr lang="fr-FR" sz="1000" kern="0" dirty="0">
                <a:solidFill>
                  <a:srgbClr val="4D4F53"/>
                </a:solidFill>
              </a:rPr>
              <a:t> on a </a:t>
            </a:r>
            <a:r>
              <a:rPr lang="fr-FR" sz="1000" kern="0" dirty="0" err="1">
                <a:solidFill>
                  <a:srgbClr val="4D4F53"/>
                </a:solidFill>
              </a:rPr>
              <a:t>yearly</a:t>
            </a:r>
            <a:r>
              <a:rPr lang="fr-FR" sz="1000" kern="0" dirty="0">
                <a:solidFill>
                  <a:srgbClr val="4D4F53"/>
                </a:solidFill>
              </a:rPr>
              <a:t> </a:t>
            </a:r>
            <a:r>
              <a:rPr lang="fr-FR" sz="1000" kern="0" dirty="0" err="1">
                <a:solidFill>
                  <a:srgbClr val="4D4F53"/>
                </a:solidFill>
              </a:rPr>
              <a:t>procurement</a:t>
            </a:r>
            <a:r>
              <a:rPr lang="fr-FR" sz="1000" kern="0" dirty="0">
                <a:solidFill>
                  <a:srgbClr val="4D4F53"/>
                </a:solidFill>
              </a:rPr>
              <a:t> volume of about 500 millions euros</a:t>
            </a:r>
          </a:p>
          <a:p>
            <a:pPr marL="171450" indent="-171450" defTabSz="40005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1000" kern="0" dirty="0">
                <a:solidFill>
                  <a:srgbClr val="4D4F53"/>
                </a:solidFill>
              </a:rPr>
              <a:t>Short, medium, long </a:t>
            </a:r>
            <a:r>
              <a:rPr lang="fr-FR" sz="1000" kern="0" dirty="0" err="1">
                <a:solidFill>
                  <a:srgbClr val="4D4F53"/>
                </a:solidFill>
              </a:rPr>
              <a:t>term</a:t>
            </a:r>
            <a:r>
              <a:rPr lang="fr-FR" sz="1000" kern="0" dirty="0">
                <a:solidFill>
                  <a:srgbClr val="4D4F53"/>
                </a:solidFill>
              </a:rPr>
              <a:t> </a:t>
            </a:r>
            <a:r>
              <a:rPr lang="fr-FR" sz="1000" kern="0" dirty="0" err="1">
                <a:solidFill>
                  <a:srgbClr val="4D4F53"/>
                </a:solidFill>
              </a:rPr>
              <a:t>consumption</a:t>
            </a:r>
            <a:endParaRPr lang="fr-FR" sz="1000" kern="0" dirty="0">
              <a:solidFill>
                <a:srgbClr val="4D4F5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5648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re 1"/>
          <p:cNvSpPr>
            <a:spLocks noGrp="1"/>
          </p:cNvSpPr>
          <p:nvPr>
            <p:ph type="title"/>
          </p:nvPr>
        </p:nvSpPr>
        <p:spPr>
          <a:xfrm>
            <a:off x="366110" y="276596"/>
            <a:ext cx="8373357" cy="486079"/>
          </a:xfrm>
        </p:spPr>
        <p:txBody>
          <a:bodyPr>
            <a:noAutofit/>
          </a:bodyPr>
          <a:lstStyle/>
          <a:p>
            <a:r>
              <a:rPr lang="fr-FR" sz="2000" dirty="0" err="1">
                <a:solidFill>
                  <a:srgbClr val="009AA6"/>
                </a:solidFill>
                <a:latin typeface="Avenir LT Std 45 Book (Corps)"/>
              </a:rPr>
              <a:t>Predict</a:t>
            </a:r>
            <a:r>
              <a:rPr lang="fr-FR" sz="2000" dirty="0">
                <a:solidFill>
                  <a:srgbClr val="009AA6"/>
                </a:solidFill>
                <a:latin typeface="Avenir LT Std 45 Book (Corps)"/>
              </a:rPr>
              <a:t> </a:t>
            </a:r>
            <a:r>
              <a:rPr lang="fr-FR" sz="2000" dirty="0" err="1">
                <a:solidFill>
                  <a:srgbClr val="009AA6"/>
                </a:solidFill>
                <a:latin typeface="Avenir LT Std 45 Book (Corps)"/>
              </a:rPr>
              <a:t>freight</a:t>
            </a:r>
            <a:r>
              <a:rPr lang="fr-FR" sz="2000" dirty="0">
                <a:solidFill>
                  <a:srgbClr val="009AA6"/>
                </a:solidFill>
                <a:latin typeface="Avenir LT Std 45 Book (Corps)"/>
              </a:rPr>
              <a:t> wagons breakdowns</a:t>
            </a:r>
            <a:endParaRPr lang="fr-FR" sz="1600" dirty="0">
              <a:solidFill>
                <a:schemeClr val="accent1"/>
              </a:solidFill>
              <a:latin typeface="Avenir LT Std 45 Book (Corps)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77EAC9D-1786-445B-B5E8-E601BA4B81C5}"/>
              </a:ext>
            </a:extLst>
          </p:cNvPr>
          <p:cNvSpPr/>
          <p:nvPr/>
        </p:nvSpPr>
        <p:spPr>
          <a:xfrm>
            <a:off x="8359928" y="4594031"/>
            <a:ext cx="759078" cy="40500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50" name="AutoShape 10" descr="data:image/jpg;base64,%20/9j/4AAQSkZJRgABAQEAYABgAAD/2wBDAAUDBAQEAwUEBAQFBQUGBwwIBwcHBw8LCwkMEQ8SEhEPERETFhwXExQaFRERGCEYGh0dHx8fExciJCIeJBweHx7/2wBDAQUFBQcGBw4ICA4eFBEUHh4eHh4eHh4eHh4eHh4eHh4eHh4eHh4eHh4eHh4eHh4eHh4eHh4eHh4eHh4eHh4eHh7/wAARCACIAgMDASIAAhEBAxEB/8QAHwAAAQUBAQEBAQEAAAAAAAAAAAECAwQFBgcICQoL/8QAtRAAAgEDAwIEAwUFBAQAAAF9AQIDAAQRBRIhMUEGE1FhByJxFDKBkaEII0KxwRVS0fAkM2JyggkKFhcYGRolJicoKSo0NTY3ODk6Q0RFRkdISUpTVFVWV1hZWmNkZWZnaGlqc3R1dnd4eXqDhIWGh4iJipKTlJWWl5iZmqKjpKWmp6ipqrKztLW2t7i5usLDxMXGx8jJytLT1NXW19jZ2uHi4+Tl5ufo6erx8vP09fb3+Pn6/8QAHwEAAwEBAQEBAQEBAQAAAAAAAAECAwQFBgcICQoL/8QAtREAAgECBAQDBAcFBAQAAQJ3AAECAxEEBSExBhJBUQdhcRMiMoEIFEKRobHBCSMzUvAVYnLRChYkNOEl8RcYGRomJygpKjU2Nzg5OkNERUZHSElKU1RVVldYWVpjZGVmZ2hpanN0dXZ3eHl6goOEhYaHiImKkpOUlZaXmJmaoqOkpaanqKmqsrO0tba3uLm6wsPExcbHyMnK0tPU1dbX2Nna4uPk5ebn6Onq8vP09fb3+Pn6/9oADAMBAAIRAxEAPwD7LooIyCOefSseTRrhrZrddav0jKAA7gXBDA7t3XnGPTBoA2KivGnS0le2jEkyoTGhONzY4HasRPDUsccEcXiDVwsUwkO643mQAodrE8kfJ+TH1rCi1LQLH7TYzeNb92myWSUsZIiMHIO3KjCk+4yeaANqfUfFiNIsfh+3lCn5WF0o3j2BPB4PX1HTnEc2q+MFRpE8KwOB5RCC/TeclfM68ZUbsc846isl5tBa3hu/+E11OK3mkyjNOyqSShABI4HzKP8AgWOtSwx6TqdlHBF4w1na28RukrRE5xnkrkkbTjnj5qANe01bXZGjF9ox08vOEVWlSQsvk7iflJx84I+g9624PMkiV3dkY9QAP61iadd2c0umW9rqct4beXyyZeHbEB+ZsgFjgg59TV3UbiCPUYY5JHV224AXI61jVn7P329NjWnHn91I0djf89X/AE/wo2N/z1f9P8KfWfezRJqMUbOwc7cALx1qqlRU1dkwg5uwl9dXcVq8kMW9wQANpNMgvL5/s++HG8Df8h45P9K4HwN4g0S6n1X7LqF3MYgnmB7crty5HHzHPNdFLfWLatpw+1TBpBHsXyjhvnIGeeK8hYuUrSvbyuu57NXL3Sk6bjt1s+1zoTc3Xluwj+YEYG005bi5LRAx8MBu+XpzXOabrWm+TdyLcTsqFA2YiMZJx3qaTUbGTU7Ai4mBlVCi+WefmI554q44u6T5vxXc55YOabTj+D7G19pu/LZvK5BGBtNPW4uS8QMfDAbvl6Vzn9s6bPY3DJczhY3TcTEeM5x39qt2t7ZtNYqtxKS6KV/d9eT154pxxd2ve/Fdwlg5RTvH8H2NWyuruUSedHtxjHykZqVprgXCIEyhxk7elcZca1pSaTczNeXAjWWNWIhOQTuxxn2NaulapYyppwjuJm82NTHmMjIJOM88UqWMbSi3+K7lVcBOKcuX8H2udGHk2njn6Uhkl81V2/KcZOK52yvrJbWdxcSsoZAT5Z4zn3qcajZ/2haRedLvdUKjZwc9O9axxqklr+K7mDwkk2rfgasNxcsjFo8EEY+WrKB2UMXYHGSMD/CucfULJrGR/tEoUSICfL7kN7+1SR6lZC7tbfzpS7xrt/d8HI470U8Yla7v813CeEk72X4G8heTO5imPQUEuHCZJHriuc0u/svss7rcSuodASY8YyG96sG7tTqtuvnSbmVCq7ODx9aqONTjHz80KWEkpNW28jcYOgyGZvqBSgMRu8xh7cf4Vg32oWYsTI00oUSKMhOc4PvU8F1bsYNsrndEpHydRtq1jIuX/BIeFko3/Q1ULuDuYpj0A/rS5fdtySPXHNc9YXloLSVxcSsu9QT5Z4OD71Y+3Wv9oRRebJvZFIGzjBXPrUxxsXFf5ocsLJSen4Gy29BwzN9QKXDY3eY3rjj/AArnLm+s0sC7XEoXzQMiPvg+9W47y1LRKJZMmEEfJ22Z9fSnHGxb/wCCglhJJf8AANZN7jlmXHoBS/Pu2ZOP72Oa5/S720+xyutxK6+YoJMeOcH3oe+s/wC3Uh8+XzCgIXy+PuZ659KSxqcYvu+6H9UlzSVtvI6Bt6Dhmb6gUu1sbvMbpnHGKwLu7tfsQYzyBfMAzs74PvVlLu3EiL5r58oN9ztsz/KqWMi3/wAEl4aSX/ANVd7jlmX6AVS+0Xn9p/Zth8jp5m3np69OtUrXULNrRpFmlK+YBkp3x9aWW6tzeMvnSA+UTjZ22Z9fSonilKMbPquqKjh3FtNfgbD70Hysz59QKXDY3eY2cZxxiuYiv7GPTzIbmYqZcZ8s5zt+tX1vbU3QQSybvK3Y2dtmfX0pwx0Za97dUE8HKP8AwxoXc9xHGpij3Enn5c1MjyEDI/hyeO+Kw59Rs47MSNNLtMhAIj74+tSre2v2/b5sm7y92NnbZn19KmOKXNv26obw0uXbv0NK5muEjUxpuJPPy0xbi6N0YzH8mOu32qi+o2f2USebLt3kZ2d8fWklvbX7VKpmkDCMkjZ22Z9fSlLEptNS7dUEaDtbl79DVWSXZkrzn0okkmUPtXOFJHHfFc+t9Z/YBJ9ol2+aRnyznOB71ae9tftUsfnSbhESfk7bM+vpQsYmt+3VDeFknt+BoQ3F00W5o8NuIxt7VP5ku4jbxj09q5m61OwjsY3a5mCmRgCIjnOB71bOoWf2uZPOl3LEzEeX0ATPr6VMMZ0b7dUVLCS3t36M2TLNsB2859Ke8kgVioyQOOK50alYtYJILibaZWUHyznOB7+9V4dctv7V3GO4CPI8QbAxkZGcZ/2TVLGJ9e3VEvCSW679Dp4ZZmj3MuDn0qRw6ozq7EgZC4FYGpX9mbeJ2nlVdzAYjznge9SXGqWPm3VuZZQ6RMW/d8ABcnvVLGRV0326oX1Sbs0vwNmAySJudmQ5xgAf1piSTtcNEwIQZw2KwLS+s209HW4lKmRgCYznOB71oz31tuuEMkgKo275emKI4tSS1/FClhZRbVvwNNt6Ywxb6im3JljgeSNmZgMhcDmsJr+zWziczy7S7AHyz1GPep5dUsjcXMHmSh41bd8nAx+NV9ci09fxXYPqk01p+Bp2Lzzwb5t0bZIwBjj8aWOSZp2jYFUGcNiub1DUrFbe3ZrmZVYvgiMnOMe9dJfyJFp8ksjEIEySBk4oo1+dPX4bddxVaDg1p8XkSNvTGGLZ9RSkMoLCRj7HH+FVdEniuLLzIWZl3kZYYOabZyxNqMiLIxYbsgrx1rdVk1F/zGLpNNrsXF3MMl2X2AFcx8SfF1j4P0OC/vtY0vTPPmEUcl+shjZsZI/djOcBj+FbWr3UNvJGJXdSwOMLmvDf24IDcfDnQlHONVB/8gyVNTEKEZW3idmW4FYvFU6MtFNnqGi3vjfVtNtdTs7vwtNZ3MImt5YxORKjBCjc46qWOOP4ffE1wvxI3xtbyeFSOjq4nAxuPIx32449c1V+D+p2o+HvhTTAtx5y6ParkwtsyIR/FjH8Jrt66Iu8Uzir0/Z1ZQXRtHNMPHXmttbw95WOCRNvzn8uldCPNEKb9hkwN2Mhc9/wqSiqMiNTx8xIP+zyKKkooAKKKzr3XNKs7t7W6vFilQIWDK2FDnC5OMcn3oA0a5XUW8WqEjsvD+hTgkGTzbkqvJOcfKefun86uL4y8NMkTrqse2W7Nkh2PzOCAU6dckUDxh4b84QnVI1lLKoRkcMScYwCMnORQBXsl8Sl1Euh6LbRKxI2yliOFA4AwCfmH0ApZV15oopP+Ee0qSQqhlRpQCGIG/Bwc4OfqMVE2reHtWv7O+t/EFzHlmhjjidkSZlcqykEcncCOMHjisO6bwq2nlj401uOET5Mi3UoYNhTjIGcEDp0PPvQB1Ft9uF/aLd6dbWqi5PlmFwQw8huox65/ACtO6tYJbpJZIVd1xhj2wawdEbTWuLM6fq91fqZkLGeUuf+PXhhuGeV2sccZY981raiEOoxbpCp+XA29eawxDSjqrmtFNy0djTqtPbwyXSStEGdcYb05qzWdetGNRiVnIY7cDHvTrtKOqCkm3oc14X8N6XZS3xi0KG184LvIVhvwxPc1vDSdPM9tN9hj3xBdjc/Lgkjv60njKNJNFZZJjCPMX5guf0qlpVvGINPK3RYKox8hG75zXmuMaM/Zcqfnp3PTlVqV4e2c2m3br27klhpFgEuIzp0SK5UsAD82Ccd6sNptglxbyfY4l8lV2sc/IASfWub0C1gt4r4/b2kDFM/uiNvJ96m11bcwqftTZ+yHC+Wfm+971hTqx5V7i+9dzStTn7RpVG/k+xesrTR5oZ4ba3s5NxVmSN92cE88H3/AFq9HHo8Mtusn2SKeMKFRpQGXngYJ968s8GIVvJvtSi1X7LwyfOSd6dhit+40kT6lEsd1CTdGJo2dGBxgLzx6qe9TRrx09xfeu5riMLNSkvaP7n2Oln0TT20+aFtJhZGdGKbWwSM4PXtn9a0NP0yyiSz22McZiRQmAfkAPTrXPailrFpFy0l84QzR/MIiSD83bNW9MS3aXS3S7dv3abQYyN3J9+KKVSKkvdXTqu5NWFR02+d2v59jcj0uwWF41s0CsQSOecZx/OnjTbH7TDN9kTfGAFbn5cdKzIEiNrMBcMRuTJ2Hjr71YSNPtdq3nnhVwNp5rqhUg0vcX4dzikppv33+PYsjS7DyWj+xptLAkc8kZx/OlGl2AuIpvsib41AVueAOlU7F4PIlImYjcuTs+tEixtqtu/nsDtXC7DzxTVSnyxagvw7itUu1zP8S3DpdhFC6R2aKrMCRzzjOP5mpBp9p9ojm+zLvQAK3PGBWVthWykzcNjevOw+h96v2zRfuFEjHMa4+XrxTpzpuy5Uvu7imqiu+Z/iSSabZyQGJ7RGTcGxz1AP+NSJZWytHtt1G1Qq9eBjGKq6eI44pP3pYFl/h+tK5jOqRt5pzhfl2+1WpQ5Yy5V+BL57uPM/xJU02yjhaNbRApYEjnkgH/Gnf2fafaEm+zJvVQA3PAAxUF68Ulr/AKxlAcc7fY0sXl+dF+9JPlj+Hr8tF6aaSiunYPftdyf4j30yxkg8t7RCm4Njnrg8/rUi2NqrqRbqNqBQeeBjGPyqlN5S2h3THG8c7fY09PL+1xHzjnyxgbf9mpU4XXuLp2Hadvif4k0GnWcULRx2iKpYEgZ5OKDptl9uW5+yJ5oUAPznG3H8qryLG1rxMQN452+xqwGjDKnmHPlj+H/ZpxcNFyrp2E3PV8z/ABHPp9o8PltaoV3bsc9cU/7HbeYD9nXOzbnnptxj8qpW7RLbN+9YjeOdvsasps+1K3mH7o42/wCzThKDt7q6dhSU1dcz/EI9Os44TGlqgUtkjnrinmxtTN5ht13bdueem3GPyqG8aOS3X94VAfrt9qlDR5C7zny/T/Zql7O9uVdOwrzte7/Ei/snT/s/lfY02b923nrjGetTCwtRNvFsm7Ztzz024x+VV4/LS2P71iN/Xb7VGUjOplvOOSn3dv8AsVHNBJWgunYv33e8n17liTTLGSARvaIVDbgOeuKf9gtBP5n2ZN23bnnptxj8qrqiC2x5x+/12+1QhIxrJfzzkL93b/sUnKCt7i3XYFzu/vPr3Lp0+z8kR/ZU27s4564pW0+0MzObZCxUqTzyMYx+VQTPF9nB8xgN552+1AVPtrN5p+4eNv8As1V6d1aK6diff/mf4j/7LsBAI/sibNxbbz1x1qRtPszM0n2VCzKVJ55GMY/KsrWkhktIs3DIBI3OwnPAq3tj8xv3x/1X93/YrNVIc3LyLp2NHGfKpc769ySXR9NkgWN7GNkViwHPBIHv7VIdMsfOkk+ypuZCpPPIIxj8qzZRCLRM3DY8xudh9BTmWI3s/wDpDZMbcbDx8lT7WH8i6diuWpb4317ls6XYrbrGtlHsDltvPUgc9faq0fhrTUvftG24Yq7SBGlJTcc54/E1UlWCOwQNdNjzWwfLPoPer0YiOoSYmbOw8bfaiFWDduRdOwThO1+Z9e5al0yykiVHtEZVJIHPGcf4UkmmWJmmlNmhd0KseeQRgimMI1gXMp+8edv0qKdY/tNzmYg7GyNvTitJSgvsLp2M48/8z/Emh0yxS3WNbONVDEheepx/hVhrK2aSQtbqS4IY885rCkWD7FF/pTY3vg7D6D3rXDRieQ+Y3CnI21NKpCWnKunbsVUjNa8z69xW0yyMKxmzQqrEgc8E4/wpTptmbiWT7Im6QEM3PzZq1YMrwEoxI3dxiq9vt/tOTEhJyeMV0+zp2i+Va+hh7SpquZ6epWutJsHjjRrGNlUnAIPGce9XtVktotNla6eGOHbgmVgq/TJqDWVUvFukKcHtmsH4uNIvg4NFCs7i8ttsbNtDHzV4yelTJxpRqtR2X6HRhqcsTWpU5S3dvS78zf8AD8tlJZN9hkt3jDnPkuGAP4E1Yht4kuWlWIKxzlvWuN+D7zSWeqtcWaWj/aU/drIHGPLXnIArsLeWNrt0ViWGcjFPD1IzpU5NCx+HeHxFSmne3+V+gX9rDcMrSwrIVHGe1eS/tW2f23wTpEe3O3UAf/IT16pq4UvHukK8HtnNcV8drX7V4Z09MZxdg/8AjjVljZL2VXTsdmRScMfQk31Z0/w4Tyvh/wCHoe6aZbjH0jWt+uZ8FaHp9vpGlagkUi3P2SEsRK20ny9uducdCe1dNXfS/hx9DysU715vzf5hRRRWhzhRRRQAUx4onYs0aMTjJKg9On8zT6KAKq6bpygBbC1AB3ACFeDxz0/2V/IelZOtSeIFubgafoenXcax/uZJ59hY4Hy4wf8Aa9O1aOuw28tgXuri6gihYSM1uzBjjt8vJ69vauYsrrw1eXS6fa+KNUkuEjlbeZ5OUkG7Jcjado4U/wAPTrQBdkbxJC8/2HwxpKokYe333AQtIdpYHapwMk89yv0yJ/wksxuzc+G9GyhBsyZ87+Rnf8vyngEYz05Iqjc3/hd5LbTf+Ek1NJS+0JHLLvZjnG44yPv8ZwOh7CrNu2i/aZ76DxBqwWL/AFkbSSNGM9MKy8/hQBbEurfaLRrrTba1Pn/uxFJvJ/cvndx26fQCr0uoaRHMiajfWMF2Mfu5Z1RxzxwTmsnSJNLmvLZdO1S7uiLk+Ylw7EqfIYdHGegHTjn3ryv4xfA/XPGnxRj8VWWsabbW6pbr5Uyvv/d9egxzXLiHOPvRV/I9TK8Ph8RUcMRU9mrXv92h7xbPMzsJFwB04xVW9WU6jEy24dfly+3OOaks72GaWUR78r1yPerincMimlGtBJSOFt05bHO+MpdT/sKQ2NiLucSptjMRfIzycCodCk1I2Wm/atPWCQqPNXyiuw7z2zxxg1e0DULS5uLhYGlJQDduTHf61znizxPoun+P9M0i6e7F5cGDywkAZPmchctuGOR6V59S0kqylvZbrv3PVownNPDKGqvK9nfY0pYbqCxuGt9LjEhdML5R+YZPvVfUo7ySwQvpqbjaHcREcqfm4HNbGuW8Z06RXmKguvITPr71g3v2O1u7K4e4lJhhVwoi+8AzHrnisKkPZzUfTqu46UvaQb669H2PN7O6vtLhluLNDdTGJUCXa5X7y5xnHPFeheHrq6urbRr24sLQZiQzSKnyxEMc85wMV5r8UfObTtPtoIfMlmuTKokcKoCxtnkZ5+cVwQ8VaXpcIs76G8W7s0ljdIUVoySzsMMWB/jHauCNflaT/Nd/Q+xoZN9fwynTerfbXa3e57x4m1zSltIYpNQ0yCGSb59ssZzhWI6k1iaV4utA5A1+yDQXIjt1zEMoCMdvc8184/B+6aPxO7Wdus8i2rgq7+WMZHOcGu7u5dSk8O+IZPsFuImmnMh+08p8ozgbef0qJY1wltt/w/Y66nCEYyVP2ujt26u3839bH0EuuxrZz4k00Sb02r5i/MPmycbu3H51j3Hi61j1Bkk1+xhnSWJEgDx4AITj17nvXh7Xl7da5Z7NPgDrBNhTccEEpnnb9KwtRvp44tVtXs4wzXEm4iXIUnHtzRDHSVtNvP8A4Ao8Gwq2XPa/p1dv5vK59Raxr2l2bQI+rWFjFIzbmSWP5iBwOc+pq94c1S2vobadbq0ulMjokwdcsA7KvTjoB2rxCXUNUt/FNhM2kWu/7LcKqC74ILRZOdnGMD8667wnqupQ+CdQv5NHg+yRahO8zLd/OuJgWCrs5x9Rn2rqwuMVWSi1a3+fofPZlkE8LRVWMr3811uu/l+J6q0UhtXAskJ3r8uw+h5qxEriSEfZ1XCD+Hpx0rC8MXca3FxavHIrMgkB4IwDj196xdW8TWkHjTYbW5YW9xFbswK4JIUZxnp84/KutVowhGb6u267vyPFpYOpiKkqcNbK/wCXmdvp6yNHIJrZU5GBtxnrT3jb7ehFuCoA+fb04qkk1u1s+JJMB1z8nsfetKFk8mMhiR5Y7dsV1UnGcVHtr0OGonFtla9jkFt+5tVc7xldpPY80kfn/aIs2ygbBk7eh29Kdpk0M0cnls5AIzlcevvUUwi/thSZG3YHGzj7vrmpdmozXVrsNXTcX0JII2khZZ7VRhgQCuOxo2SC/QLar5YUDdtPHy+tU9Umto7ENJJIF80DITJzg+9aNvJGbGNlZtvkgg7ecbaIcsny9rPoOSlFc3cr3izpajyLVWYuMjZnjB5qzGmURmhUSeWM8d9vSqGlyW9xbSeVI+A4yWTHY+9V3ntV8SpbmSTztoGPL4+565qVUSSn0dluivZNtx7XezNK2iJgYSWyr8wwNuO1ShX+1r+4Gzb97H+zWXq8ltDYoZZJApl4Ijzzg+9W7y8htNCe8Id0jtt2AMEjbV05K/L2t2InF25u47U1mS3T7NbLId/I25xxVhFPlqzQqJPL5GO+3pWF4W1OG5Nzb+VLGybHycEEHI7H2qP+1dP/AOE2Gn+ZP9p9PKG3/V5659PaoVZWjU/maW60NFh5ycoJfCm9mbkCOYD5tuq/NwCuO1Qt9oGqHFqvlbeH2f7Hr+lZPjDVILdbW3McrtIXcFQBgDA7n/aqxb6jaT6SL0+aiG0LldgJACHPf2pSmubk7W6oI05cqlbe/Rl92uBbjbbrnf02+1RXDzRXEszW8aosRPmMuBnZ659eK5exvNN1fRjJbXFwqR3BBLwAHO0dt1XNXa2nkmsYpn+0LCrANHhTtQN1z6D0rnVfmt8uq8zplhZQbVtdb6PyNOxu5rqyYiGCR1k5VBnAx14NJJq9rFqMkUtzYRhVKndKoIbb0PPrxXE3+pBblVa3JaZMr5bDACHnOcf89B+RrzPxJql3c2Mupx6ZF9kbUxKhe4w5xc8ArtwORjqa5amN9na2u3Vf5Ht5bw/LGu8nyp6dt35vyPWfGvia3tbi0hXVbGCNkdiFaNsnKjvntmm6j4taPwwb3+0rCMm3iJuAyFhnaGOOnQntXl2harqWo+Krma10m23rZRoyPd4GPMcg52fpXD2evOt5baeNPUzR6ipz5vBYT7sdPwzXNLHSley/Ht8j3sLwnDmSk0+W19uuvfyt5n0F4R8VW+oNfR/2zY6hDF5RQyNGNrNv3dMZ+6tdG2t2/wDaNxtm00xeW+x/NX5js4Gd3PPFfO/iTW7pfEfnTaXErm0RdouNwwHfnO33qZLrULbwHpd62m27W0VzBKGFz8zYnyBt28c8damGNlFLr/XoVX4Wp1JKaajzWVvd6ryaXTtrc9d8ReKY7eaCG41Ows0KMwUNHycgZ5zWpc+JrePwzHqEmq2Nu7wwGS5DpkBmQMcHI6E9q8Fu9QvfEPiGS5ttOhhaO0jRke4/23IOdvvT9I8QXDaTo2kx6XGXiu4dshuMBismcfd4zVfXZK+n9L5ErhNLkk5bNXWnXXv5WPePC/iixvpr2OHXrPUoIvLKO8kfyswbcPlx6LXYlRIZJI4I5FeMlWAyHBHr3zXgFt4i1LTPFF68uiW8kktnANgveAA8uDnZ3yfyr2bwlNC/h7Tss6sdPjLALkD92O/eu7BYn2itL+tz5vPMq+qNVIqyduqfRX+H/LUtXcdwtvEI9PRjubK7Dx096vQiZr2RZLZRGQfm29azNSit7i2gPnuoDN/yzznp71afyJp7iASOGKMD8nA/WuiDtN/Lqux4kleK+fR9zVj3RRgRRgAk5AFJIhjMk0UQ8zBwcdao2EcdpZhDIzguxyEx2HvWnLIpRl5GB6V6FOXPHXQ4prllpqVlEk8StcQAsCRyvQVDq+m2+tW7afqEbtb71cbHKMGUgqQRz1FXYJESIdTkntVKG0FtqE160u4fMSoX1pNaLrff08+5UJuMuaLs1t6+XY868W6jb+CNdk0+x1yTTIZ7VLjbK6yGR8upOXBPRVGBXm3wO+I3xW174swaZ4hhn/siRLgl20wRBsIxQ7wo7gfWvWfiV4H1DxnqtvqOnXtrbxxW/klZ92SdxOeAeOah8C6Tb23i26gXUJJbhYXidDBhQQVBIbdzyPSvPnCpTrrl+FtW10+SPq6OMwlTAT9pFSq8ru2rtPZa26779DnP2h/HPxC8Matolv4P0u0vI7iGR7vzbbzChDAL/EMZGfyr0T4iwi70Ky6MPNDcdPuGvLP2hPgZrfxE8T6fqmna1p1nFbWfkMtwr7mO9mz8oPHNewavZtH4e0+0chmhVEJHQkJit66nKjUUl0R5vNhqSw06Uk5K97fqL4dt9cjFkWurQ6aIIwsYQiQDy+nud2Oc9O1dDWR4e1KO5L6ettcxPaIis8iAI/GMqQeentWvXp0vgj6Hz9V3nJ+YUUUVoZhRRRQAVj6hceIkuZlstPs5YR/qneYqT8oPI+uR+VQ+ILyS18SaBF9tmhiuZpYjEkRZZW8skBiPu4xwTjmta+vLexiWS5kKKzhAQpbk/QUAYsN14xM+JtJ0tYfKZgRctnzNvC9Om7v6dhTLifxeQZLXR9JU/JsWac7gON+dox3baB1HUrV7Utd0aKJ4bjUBFvCruVWOC/C8gEZ/wrmorfw2lzqKp4q1nfKEnkBu5CIBuUZTI+UE4yOwPYUAbk0vibcI4dI00jCMZGmO0nblxjGc78Y7EckiofN8XRLK/wDYujyMsqeWI5yMpvO45I+9swQOOSRnHJz7mXw3dwRbvE2p5W1UpLDO6lo+qn5RgtyOcbuMHvUNrJ4Xjs42i8S6zLBMiyrvllkLj+8CVLdjx9eKANV7nXM2zXemw2rrdAQrG4fK+Q27OP8Aa3D6Aetb9iZJbZJLhMS9xjHesDTzp02owyWWp3N28lzmQTOxAPkNgqCBgYI+7xn3rpAwjwhyTWTi+fmb0saKXu2tqZOjmRJp2uoEt0xwxXbnn1Na8bIyBo2DL2IORXJfFTwl/wAJf4Pm0T+0fsPmTRyed5W/G1s4xkdfrV/4c6B/wi/grTdB+1/bPsiMvneXs35dm6ZOOvrWOHUqcvZ20te/zOutGjOh7ZT9+9uWz2tvf9Cj4IGofb7z7dpq2ke0bGEJTccnuetcj8QrfWpPi/oktl4YivrFTa+ZfG0ZzFiU7vnBwMDn2r0/UIR9lYM5ALDkDNPs4QLeLa5IA9OvNc8cO1FUe2t9O51Usx9nWliFFaq1tbbbnnHxM1bxNHo0H9mrOjNdhZDb2wkO3Y55GGwMgc4rzaXWPHtxpuoSTtqzXEO+O1X+zACyhQVwPL55Jr0f4S2Fhp15q8ltqNzcl1jDB7cR7fmbp8xzXZXkkB1i03TShyE2jZwfmPfNeXKi60FUc3d+a7n0NLMaOXSeHVCM7a3cbdns035eh89fGLT/ABBDZ6RJoB1/UJQ0glAt3kMY2rjonGefyrw7Wh4lXXjbXmn3onlZfNSW2ZZCW9QRnkYr9Bw6TRuqyOMEZJH/ANevnn4pa41n8V7zSvsokWS4tAZjJgjdHEOmO31rPE4RUYqSd76H0HC/EM60nho0kuVXvdK/vLy8/wADxz4SaXqVh4jmm8V2V94ftDAyx3E0TWwZ8/d3MMHgE49q6rUrXWJLPVzpTatd6VJLKUljjaSKVcDc28Lg9Dk57VW+O50f/hA/9E1K+nH9qw7/ADbUJt/dzYx85z39K9b+Btxbr+znp8ayyljp97tGzAPzzdeeKx+rxqS5np/Xc9LEZvUw1KFa3M21Gz06t3ta/keQ6nHftd27+GpdQvp1R/M+zq0zIp29Qo4BP8q4XW7rxRb+IJLW6tbyNGdWn86BlYE8knI44wa+jvhleS3GsXX2+FbNFsvlaF/NLHzE6ghcVnfE24vRF4ijtrWGa0MYzPJMUkx5Mefk2n/0KuVJRp81juw+az+uLDcm1tbr+ZdbWe+yPJ9V8Qa79pgnh1O6lmRXUN1KqcZ7d8D8q9N8DrqN38JLm5uNS1kTzSTSG3XcI5Pn5JG3nODnntWTp1/qdp4mtpv7NtXf7LMoT7UQCC0eTnZ7Dt3rstK8QbfDc+pS2Mqm1e4jkjSUFS29uhOOPnHanQklPXQ585qVJYaMKVNdOsX1lZbdX1Oq8FXd02pXbWdxLfyCEZEnz7RurkfG1p4k/wCE4urm2sNTCGaGb91buY9wRDnpjqP0r1CfW7u11ZW1zTYrJfszCM2tx5+471znKrj9a6O21C2nigKGUCWIMuV7Ed+a9xUabtBzva3bufmMMXXwzlVVO3MmtPl1T6WOS8PXGrtPcRss9xHsVsS24ADZPoo7VNc32tpdyBJbtGWZFSBbcFNvy5H3c45PemHWbbTI1hgiuLxrhiecR7Qg9yc/eFdR4c1OPU9Lt7pY5Id29CjEHBRmQ8j3U0YS07R5tfVdzDF0pwj7VwXK/wDLte/RnFQaj4oWMC4t59PBY8xWmN2AMZyD6mrv27xEdNacW0skggkKzm2+fIDbTjGM8DtXYXGyS3x5jKNw52+x96aJ4UuY4Szlwg/h4+79a0VHlSi5uyt2Mp4mM5SkqaV7/ocJo11r919ojuIJ7tF2MqzWuAD8wJGAK2PEt7r9roN39gtHR49PJjMdvuZX8roBzk57YNbNxfWq2e9mm2+YB9znOD71oW00brCys+GjBGR2xU06Seim76di5YnlkpumrX26dDxzwzrPjmFbxYLe8ux+6IWewwB9/JGFX0FS6rqXiwas10sV5HcBo/uWQO0EKDj5T2Jr03xFd20NhG88kwUygDamTnB96oG+sRqUY8243fZwwHlDGPKz6+lYOn7JqHPezXVeZ6FXGrE3qRoqN09l5JdLHFarfeI5byO3El/NbeWXObMEB8gDnZ6E1t6pca/N8O7lDbzmU6ewDLbnzM4OMADr07Vt+HNX0+awnlgkuWQSqp3RgHOD7mtyO6ha5RQX3MoI+X/Zz61rRgpxT59XbqvM4qlZ0aiUqS91329DyHwBP4otJdReOHULossIBurY8DMmccD2rj/7b+JX/C/0jbTb4aV/aKoZf7K+TytgB/ebOnbOfxr6D12WBbSMzSSAeZwVTPOPrUWoNAdNuN00oT7E+cJnC+UecZ647Vn9X5Xyc17W6o9SlnMOedT2EffVtvRdv8jzj4jtr15PpjCO9gCrMCbSA88x4BwD71iabqHiyPwpEn2jVTdeYYTbtYg5iMpTkeXn/V85z716B8K5NPXRr02d3czJ9oXcZIAhB2+m41sFrZfFhkNxN5gBOzy+P9X659PasfYuXLU592uq/pmssfToRlhfYp8mt7avrta6379EfP8A471f4jaEtpb+F7HUhBLveZYtJ8wbhgAn5Djiqtt4q+JQtYb7UG1KG4Yqtwz6WqbUJCtnMfHy19KalqFotojtJOqmQjhMnOPrXnXiVrFvGt5LDeXMl6VQrA8IWMny1wC+444/2aVWgk0oy7dUd2X51B0mqmGi2k3e172ez0emv4I8s13U/Fl/qUX9mXGqXMcMJ3NbWudrM3QlE9FHX0rjNTi+Io02e0i0vX3iQtJHEbCQjcG3A/d9ea+mdMvrv+07i1ubNY5WhjkHlT7htDOOSQOcmrmq3Vs9ldakJLjdNbFfJ2DgugT72ffNYfVoqzb7dUduF4qcWqUKKXb1Xy8z5Z8CX/iuxnuZ/Ej6lo08iqsRmiaAyKDk43DnBP61y0t5q8euTTRLN5azNJHN5Z5Ocg5+tew/ExpodQ0/T44i8kcMkzGRwBh2UDGM/wBw/nTWu9Ub4UWVr/Z1r9n8yILN9qO4n7Rx8uzjnjr7+1ck5RUm0j7PC4qSpU6jim5OK3S011/4B5Rfaz4guZFmkluJZcbSxTJ29QPzJqWLxF4mlhi0ma6uf7NRl2x7MKMHI5x616J4el1K31i52WNrI5gjyDcEADc3fbVPZqLaJZkWtt5bXce0+eck+dwCNvrUOa2sdirR5knFaOPWPZ+RxF5rPiCxnEmkz3Jd1xIUTccA8dvc1tfaTb6BbXltfTLqCMkgQPyr7uTivSfA0utWfiHUBFpllNI1rDuVrwqAN8mDnYc9/wAq5CzlvpJLKNLO3yb1duZyMt5h4Py8D3pOStsYwxPPNx5VZcv2o66Py/4cb4M1J9Uu7yfxDrVzDKqRpGzS+WWXLcdOcZ/Wu10Dxpr7aVpNtY69PJcO0UDQxwRuwiztbjYTwo6/jXO61rF9oviGT7Vptu8ktrHhY7kkABn5zt9/0rtfAuvaha+GfDQl0mA2jSRxJLHd/vCXLKuVKADlueelVTbUt7Hl5lGMqXtHSUvhsm4W+F7af8OdFoeoeILrUbyDUNS1VLWKKNoGNmq5di2/nyueAv50/wCHeqeKrzX9JOrTai4nZhdpNZCNcbGPJ2DHIHet638Rv9ql0kadMZrZFndjOu0rJkAD3+Q1f0zxHDqUMN79luIYL6MlcsGKgqTyPwr0qEVzRlz7W6/16HwOLxThCcZYeK5klfTTTdWXW9/VG14qk1G1W2XSbMTht/mYiL46Y+neofiVdanY+B7270bzk1BfK2GGLzHGZFDYXBzwT2rW8OPE9gxhZ2XzDyy4OcD3qWBo/wC0HAZt3PGOK9uMeaLlf4/w06HzEKypVIXgnyO7/va3s/yOK+DOo6/qem6k3iR7p3juFWA3NuITtKAnA2rkZrsoWuJL2SKaL9xzztxn8ayvGhthNbfaJpYztbGyPdnp7it8JhS27jHpU0U+Z0r/AAW1vv6l46rGrP6xGKip9EtFay029TO1eW9s2hTTYNyNkvhN2DxSz6XZ2JuNS0+xjW+cHLgEliTzV8ReYow2Me1HmpKzQjIb1xW3sldtvfby9DkVZpJR+fn6kOlPcXFpvvY9su4jBXHFGpR+bbRr6EfyqcFYV2tk59BVLXby9srW3eysYbtnkCMJblYVUEHnJByc4GB61qqd6fI3qZOdp8yRb0+aGWDbDIr+SfKfB+6wHIPvViuOOq+OlMv2fwdpw5U7f7TXqVUsCQvXJIz/ALPuK6TRp9RuLQyanp8djPuIESTiUbcDnIA9+PatkrKxm3dl2iiimIKKKKAEKqxBZQSpyCR0NKRnrzRRQBT1GOaPTrg6ba2sl1sPlRynYjt2DEA4H4Gs2P8A4Sdpm82x0ZIhCdhEjs2/+7jA+XOOc/hW9RQBzs0njERt5en6G52jaGnkAJz82fl4GOnXn86dO3ilZblbfT9GaHcBDukcMwzyWAGB7Yzn2roK4PUm8H6ld3pl1rWontnLTiG6uoVQ7mBxjAPOenYDtigDoozqH2yyW+trWIfaW2GByQR5LckEdc7vwAq3fSXa30awx7ozjcdue/NY+iJpqTWY028vrhftPz/apJHOfIbGN/PTB445962L141vo1ZmDcYwvvWGI+De2prR+LYXXHuY7BmtY/Ml3DA27uPpUmktM+nQtcJslIO4Yxjn0pusMi2RMhIXcOgzT9MKmxiKElcHBIx3qF/vL16fqW3+4WnUwPiHeXlpZ2BtZp4UkuSszxRbzt8tyM/KcDcBTvCV5qE/hK5uJpJ5Z0ecQvJFtYgE7eMDP5Vs62iyWJVnKDcOQM1TttUtbL7Lp7ea7uBtYKMcsQM81jKXs8U5SlpY61UVTBqlGHvJ7/f5fqeB/DvXPGx1to9Ut7qws5IyZZItMEeWHKgkJ61f1zxL44gvL6S1a9eG3Zvs0z6eCdgGQclOec811F5NpHwx0DUdf1W8vLu1mmhgK29sN6sWYjgvyK07Q2HjbRtO1zTrq4ghv7PECzwAMPmdcthjjn615ChOy1+V13PqquJouftXTXJtzcrte3be/wA+hQ8FeKbzU9Xa2sNW/tL/AENpZI9inaQ8YB4Uf3mrwP8AaD1HWLX4z300ZeN40tZOE4VhEh6dOwr6Y0FZJb0XVxJEsdrbNCRGGJYuyHPOOP3Z/OvNfjB8L7zX/EGqeIYNatYYZrRZFhkhYsAkWCMg452n86ylGcqC96/z9T0cix2Dw2aOU0oRcbfO60ulbbyPmLX/ABZ4p8QaRJZ6pBaPEs6SqkdjHHlgGGTtAzgMfzr1P4e+LdTsPhH/AGeupLbPFDPHHAIU+UMScfdzyWbv3rxjVdCGk6cXuLrcszrjZHkjGff3r0DwX8SrPRvAA8DjTpp5L1XVLneFC+ZwMrz0x61hVcpRvB/1Y+ylh4KNOEqaeq0co/zPXbt/kdr4K1LVbfXGGlXV7cK1s4m/dGfaAy7eCpxzWX4w1XVpp9YXUL++jmZipgIMSsoVQuUAA5UDtzXpdjJqmha1HFqVhCxvLaQRfZ7rdjY0ZOdyj1FTa7o9zrvh/Vb2KeG3W5gkIjkBZl8tNhGRxyYyfxFcyTlGy+44oZjSp4mNWcFyuy5rpt690vJ/ceOeGbye61of2lqV6iLA+1/MZSCSvGf89K6BJ7NfDepxjW74MZ5dsX2ltrjcOSO+a3bC+1bQ/E9pdy6fayu9pOiot0QMFoySTs9h+dX/AO1tYuvAniGRdLtBbz3Vy7sbw7kJcZAGznH1FZ6M7quKneDUdLx+3H+Z+R12hajYSaxN9n1yTWT9mPy39z54T515XdjFQ+J/GNxZ2Wppp+tLFqdviOztoI0YA7UwqrtOeSeM1fnv/EU3jjT1k0WwWb7BdbFGoEqV8yHJJ8vg9OMc5PpWp4dtNRuNNuLGX7JA15qMsz4dm8vE/IHAB+4eeOtelBOUUoydz4GVSFOsqtemnGy0vF9fJNNaPou1zze41S/uNZtYtf1LULCyWCVkkVDbZkygC7gozxnj2r2L4YSSHwnp32V2ubYtNsnf52cedJyWPWsm60c6QkV/DeLMqu0bLJGV+8AQRgn+6an8Pa3PY2iI+nCWFLso8yTgf62XOQpGePMHfnBq8InSq3m7fPzM80xEcdhIwoR2fkl9ro0tdV1+R1NxNqS2ZaO2Bk8xePKHTB/+tXEXeq68viJ4/MvFlF7FGkItfk8slARnZ0wW5zXch7drV/nkwHGfk9j71GTB/asX72TdsXA2cY2/WuypFy5bSe66+p8/hMRCi5c1NPTt6epxnjq/8SWtjafY7V498rbxHaB84UYzwcdTUGnaz4kPhYXEs18uohtqoLQDCeZgfLs/uV1up2lvcaZ5f2mRAJlOfLz/AAn3q9aTW8UttZ+ZKXEKqDs4PydetKldSV326rzFWnGVFRUVfXozzXxrq/iBb6zgtZr6WzaOR5D9iDgSAqF52ccFq87vPFnxGhuZpWW+RI5SgdtKUYhDbQc+X02d/Svoa+t4ZNP2m4kUeaDny8/wn3rA1rQorrVpJU1B1la1CqrQ8cQ45Of6Vy1aU3JPm7dUe9lebYbD0vZzoxla71W+t7bPe/4HF+B9d8QXK6hDpaLeqnksU+yLhSfMGeFHoK7izv8AWDdQmU3C3PnIrRfZ8KFyAR93pjPesW1kNnIzY+0eeAAF+Xbs69fXePyruNEvoby2tZ8Sxs0ONhAOMKR1z7VrhU7JOXbqvM83NsRGrNyjTS+XkjkviDrV/Yy6dHd3BsoZRM3EK/My+Xjqp7M1cvrHifxHH8NL3VY7y4a6WCTYzWilTHvKg42Yxsr03VbZrh4Lq2lQCIPGwkBGd208Yz/drk9ZguL3RbvQVVUecNZicvlQzNt3beuMmicJqXMpPW3VDwmLotU6c6atF3bt0vr08/PY5L9nrxJ4g1a01uNlhnEMkDKqWiIBuEmThQM/dFP8R+LNdh8S3UNvfyrdrqAgEUdqjMI/MCkD5CfuZp+nLJ8MpZFvguqHVFBT7OfL8vys5zu6580dPQ10NhFLc28PipWVYZWF8Lc53gE5256Z9654qU4xhzO91123PexlajRxM8ZGknSkvd0WrSV1t1afRHO+KNd8Ux6rFb2M2oS2PkbyTp4YCXdjr5f93HFeZzeNvFE+vGK/u/Lna6EMz/YkjlVA4XqEyCFH1r6Ge4j1+2a1k82zNu4kzxJu3Aj1GPu15/4z8N3Glajf6p9ugnW2uReiLYys67w4XPQHBxWdSE1ZqWmnU68qzHCSi6U6Eea21t/X3et1cwf7aMfiFvM8SagkRtFxIZiCW3njOPTnHvUWq+MLhvh6UTX2N4WWLaFUPsE2Ou3OdoBznNdF4a8Q6hrPiS4ubTTIEeGzSNklujggyEgghfbpVHUBr1x8PodMXT7ERSagkaTG8bO43nGV2dN3HXpz7Vzy9ol8TsdeFeGVaEJ0YqSlG+sV3/u+javr8jx7xDquoXOoJM+qXly4iC73kLEDJOM+lTrqV5/wjsNr/al5sVlIh807Qd+eB9ea6Xxroms6T4jjt72Oz857RXAjnLLt3sOpUc5BrM07VLiXS7LSY7SPd9pjVXMuAT5uemPWsX6H2VKtCpThKCTV49V5+RyOua1rtjcRyabfXYd0xIwJJwDwP1NVf7e8RBBCL26EUfzxrngMPmBH4811nxC0u/k1mBLhYIpBbggJIXBBY98CuNsXW91mPR4si4kk8oMw+XNaRs1sb0ZwlFS/w9V2fkdN4M1/W5Jbm4vNYv4ZiFQOshUsoyQDj0JP51Bf3t5b6Wbi0vLoXMbb48MTht3Ue9aelXNx4DvZobyCO7e6jVx5cmAoBPqK276PUr/wHZxrb26QzvHsczkty/GV2/1rNtJ7aGDqKMk0tG468y7PyPO01bXtSP2jUrm6nnHyBnyTt6gfmTXYWmq3UWg6dGmtXyGKSJliWdgsZDZyB2xUNg114bvZoJ4Yp3lRG+SQgAZPtWlpepXU+m6TZR2cX/HxFsZpiMnfkZG3inJ9kVOSaVlonHquz8gi8RaoNSnm/wCEj1MO8SKZBcNuYAtgE+gyfzNdHoXiHUo9M0hNN1q9muw0a/Zx+9AXBDYTaegz9Kfaxaz/AG7eBbOzMn2eHcDdHAGXxzs+tafhjXL+PSNCtJNMiMJZIUkS6+YllZQcFcDr60Qm09HY8XGxpVIX9lGVrbuP8r8j2H4MX+rX2l6gdUac7LhREZYBFwVGcfKM1zfg/wAV6teePbOwm1WSXzLyeOaEwqBtVZCBkLkYKr3q/wCFvGH9jR3Gky6VLJLGVmLCdcYcEAdP9g1o22m3ulwWniFzBNAjiYQqxDkSZAGSMDHmDP0r6Kk3UpUuWXw6y16eZ+YYmrCjXr89Je+rR0W9raaed+mpznx48S3mjeIrG2h1BbaNrPzApiRstvYE/Mp9BXS+DtZ8WX14i38Jaya08xJPIA3NtUg5Hrk1U1bTdR8a6nJe2YtrIW0K27pM5Yk5LAgqP9r9Kr+CtSaPU7WCWzZUeJrcSiUHlVPO3HfYfzrGpOpHEud2oyatrudVqFXLY04QTnBPmva6/LXTuz0rT2ma3zMu1tx4xjiszTJtQfW5454AtuN+1vLxnnjmqd14gms7mW0s9N+1iKFZ3d5xHjcWAAGDn7hqbw3LDd3SX8ZdTcwiXy2UfKGAOM55613uqpSpxjLVPX+up899XnThOcoqzWn9dPmY/jzU9Ys9ZWGymuY4fs6sPLg3Atls87T6CuoZLe40q1OouELIoJZtmWZcFfxyRiqXiiKKSeAyTOhCnAVM55+taV/p9vqFskVwGKj+6cZBGCD7EEg/Wt6Ll7apr26/1Yxn7N06alpvdpa/8EXS1YQytJbxwO08mQjA7gGIVifUqF+nSrdRwQRQKywxhAzFyB3YnJP51JXYcQUUUUAFFFFABRRRQBn6tJrCSwLpdtayod3nNNIVK9MYA69/yqnYzeKWl/0yy0yNN/8AyzlZjt/xq9qWl29+4aaW5TAA/dTFOhz26daxL2x0XQof9K1DWFW4XyAfOmmPQnjAO3hTzxj16UAaUc3iLCF7Kw+984EzZI+Xpx1+9+nWmK/iMWgb7DpouME7BK20E4xzj13ZP0rJMnh28hmkj1XVwpj2vteZSAVIyARkEhScjqTnuKTWR4dBuBealrEQEkccnlPOCHQ8cqMnJ6880AaF3LrANp59rBHKt0RH5Lbgy+S2Tg9Oc/pWvaRmaCOW6iXzx1yORzxWJZtpzXFobGa6YNcksJg4P+obGAwHGMdPWuji/wBWMVk4XqXb6bGilaFkVIFmuC8d5GGj6gFatxokaBI1CqOgFMhxubGalopRsr9RTldjZI0kXbIoYehrJvbZv7VgaOzjZF2/PsBK8+tbFV5o1a4VixBGOMVFekppF0ajizD8c6Fp+qaA1lPo9rqETTI5gmiDqSM4OD6ZpugaaNO07TbO00uC0t4IwqxRxBViG4nAHbrn8a2tXjWSz2uxUbhyBmks1RLeFVZiAOCR71zVKKdfTRWX5nTHEy+rqDfXz7GTpdtcKlwHsIo8lcARAZ5NM8TWs8mh3qx2YdjYyqNseWzsbgVrWcSRiTDsc4/hqyduV5PT0qaeGXs0m/y7lPEuNXnSPjPxB4JvJNDlbRfC1xql2mzEV3DIyqCeSAxUZrkJPD0lv8RtB0/UPD8VmzSWK3UCxkBC+zeM5OOvY96+l/iLo+j6h4IurW51K9hhN5A5dLRXYECTA2lx6nnNcTY+DoV8UaBBaasXim+xvCZbXaxUFR8wDEA5Q+vWvEUbU4xS/Fd2j9UwOcKq51asmtGtn0s73276Wv5noXj/AMLWSvp08lvqUOySRPNhnnZlBXpwWwCVH5CrOkadJb/Di7jWzleJba92yzxkylS0pBy3zdDXoeoxxvbNukdQXByFz6+9MubMXOkSWscpDS2zRqzL0ypGT+dehHARVV27eR+fvO6rw0Kcrvld9W/N/r3PBLbQ7G/ut2ipeavcRQHInmlbywWXOMkdcfpXpOg+BdJfQ7W1u9EkSO5jD3kQuJgpduWyA/rVi602W5jM19OkcaAIPJUuSSc98f3a67RY44tMs40dmVYgASuCR9M1lg8JBy5ZLp5dzqzHPcRUpLkm1Z93fbvovwOfj8K2RmF61ndfa41Mccn2ubcEbBYD5+hKr+QrTsNNWykgit7ILGvzFmy7bmJZiWYknkn861xt2Hk9fSlG3evJ6elejHCQja36Hg1MdWqK05Nr1f8AX/DmLf2txNYFDp8ch81SFMQI6HnFVI/Dto11FI9hIoYpLIizSKnmAA52BtvVRxjHFdJ8uw8nr6UuF8xTk9PSj6pFtNv8hRxlSCtF29LlCKGTyGDWqA7gcbB6GgwyfbkcWqYCj5tgyPlq98uw8nr6Uvy7xyenpWnsFZamPtXqZpgma2KtaITvBx5Y9DzTlt3F5HJ9kQYQfNsGR8tX/l2dT19KUbd45PT09qSw601G6z1M2WK4Ntj7KhO8cbB6GmNbym7DGyjI8sAt5Yz9zGP6Vp4XZ1PX0pdq7+p6entSeGTtr2Gq7XQ5W50Vbi0Vn0tVlST5fLBTgjn7pGegrW0+y+yJDDDZqkSRYHy5IO3nk89TV5oFMW3efvZ+7UyhVKrk8KB09qinhVF79uxdTEOSKCxTfZyDapnf02D0qodDtTqH2j7E27d5v+sfbvxnO3OPvdsVtfLs6nr6Uvy7+p6entWqoLTUy9q9Tzz4meH5tUsLGVNFW6uIZXUYDLtRlBP3WHdR+Vb+n6OkWgW+mf2aqW62Sp5YByDszjOc/e96u+JYYJrSFZZJEAkOCqBu31FaNuifZYkDMR5QAOO22uWGHXtpL07HoVcdUlhYUm9E33/zsc9oukfZLaV104LLI4Db8tlQDjqT3JrP8f6ZJd6NqsZ0wOslvtLRxfOeB0I5rsoY1jjI3E5b0qO6tkkMzGRhujYH5emVxVPC+4l/kYwxko1edaff5Hhvg3w9DaaldNJDqttE8KjePOG4hjxnHof1q/ofh2yntrCGd9ce4/tHe1q8k6xACdmDYwAOAGzn3r1PTrCKKyaNbh2Bk3ZKY7D3rUlRWhdC7YMZHT2rmp4Lngr9PRnpPOakK06ibu+t2vzueOfF3wleSW2n32ieHpNQvi7xTM8kkpWIAFRy/A3Fq8j1DTdEsdXEUkk1nNFqSpLGsjgQgTYYDrjAzX09rNhatYwpJcSqBKxBEQPOB71554h8P6pDdNFaz2UrRalFcxLIXTfm4V1UkA4+8ATzXn4ui72iu3Vdj6jh7O3CCp1JN/Nrr3d1p8jyvxRb+Hp/EQEeo3dzCLVMO80jENvbIzjPTFedaHZ26eL7S4nheG2+2LvuArKQm7Gd30719J6r/wAJavjqbzNN0cXH9mw5UahIV2+bLg58rOc54x6c1548Wtjw3YSfZbDyvt0W0/aX3FvtHAI2cDPfPSuCadNuJ9fl2Yc9NRf937cXun5f8OYfiu18N3OvKI72a6gW1XDvM7ENubIz9MVrQx+Hv+EK0lRqt39q86ESQieTag8znC4wMD0rWstO8RX/AImuVittNWVLOHcGu327S8mMHZ1zntXQ6G3iePwb4YSPT9KaFdQthCzX0gZmExwGHl/KM9wTilTjz6GeJxvs4wipXacftxX2W+x5zqOiW+oau7WMep3sCQoDIolfDEtwTj0xxVbw9pYa70u2ePUkmF0gmjQSBowG+YgAZBAH4V7j4huZl1SVvE8a2U/lx+Wtg5uVK/PyS4jIPtg1e0Lw7JD4v803yMiPLLgRnOGVj69fmrsjhbvlv1S6dfI8atxPOjS1j0vvfZd0rddzjdI8N6a2vX7XU3iBLf7PCIpd1wC7Zk3DO3nHy8ds+9ZltoFja6JoktzJrlvLHdQfaQzTqIV3Hceny44r6HsrdFtQqzORvJyVx6e9VNVt2YzSQy/vUdZArjC/KwOMjnt6V1/2YlFNv8j5r/WyrzOyfTr2Vu3W92cJ4S0PSL1r+40/7Xqa7o0aaeeVmGFJ25JHAz+temahYQTaIbDyN0SoqrGGIxtxjkHPGB3rM04SSiW6umRTIwVVjy2Ao75x610L/wCrP0r1sHQjCMknukfL4/Fzr1FOX9bGb4c06HT7aXyrcwvK+Xy7MTgYHUmvNPBOlyR+OoDJHqPlrNOSkpk8pch+x4HXj6165DjZx61z2mS2v/CTXKpJMZQZMgoAvXnnP9KK9OK9kn0fkPC4ipGNbl6rXcm1vQ7S5uRMtvNvaPy3MU8keVBOAQrAH7zfnWgLOGxsgun26xtHGEjAGSFGABz7CrEjK2DyPwqST/VmulUYXlJI5JYipKMYybaRUt4ftUIe+gVpASBuXoKuJ9wfSmw42cU5PuD6VrTgox8zGcm2LRRRWhAUUUUAFFFFABUV4bgWkptFja42HyhISFLY4zjnGalooA5+5k8ZfZ3+z2uiGbnZvlk2nnjOBxxnPWrkbeIPMtlkj0/aVP2hlLfKcNjaD1525z71qUUAYVrJ4t8x/tUGjhA7bfLeTcybjt4PQ7cfjmlnk8WCzjMFvpDXJA8wPJIEByc4IBJ7VuVyWr2nh2xkvJ73UNRQu2+RY5ZSEJIHAQcdv50AaM7ap59n9sjtt32pvK8nP3fKf7wPfr0rYty3kr5nDdx0rntIXS1urdtMubiYNdYk813OGEDdA3TgjpxXQS7fNXOc8VDVnzFLVWG2/mb28xdo7cYqemTY2c5pY/uDFEVy+6EtdR1VLg3H2tBGmY+Mnb71boonHmVrhGVmY1lLqU6zLdR5AxsBQeprM1O68RQ+JLK3s7f/AIl58vziIlOMsd3PUcVtaMsYll8tnJwM7lApL63jk1SKVpGDDbgBcjr9a83km6UZKTvfv59z0IVYwqyvFNW7eQSNdLC5SMBsjHyjpUsTXLeTuUcgbuBTJGiaFxlwMjPyj/GnRmMNCMt0GOPetY/Fv+PmYPbY88+Idref2baQ/YpI7eS5zMILUNnCNtzhT3NcVJL4vtbyzls9KU2lvC5S6lsYxLGqtJtIJAYYAGOK9j8R29vNpDRyTSovmocqgJzz2zXnHiO10eXxvpVk15fLdyW8McX+jIY+dwUsd+R15wDXk1KThV37dV3PrssxylQ5HBO13s30/wCDbcPgx4m8Ra9rl7bapqV1fwx2YkVJ4lAV96jI+Uc4Jr1fderdQosYEOF3YUcetcJ8MNNC395cfat6rCsZHlYOS2c9f9mvQVaNJYo8sTgY4rswalKlGUpP7/M8bOasJ4uXJBJaaWt07HN+Klu0htljjmijaRvM8iHOSBxnAPvVLQ77xQNTsLfypW08vtd5IFDbN7eoBHGO1dRqHkm0O5pAN46KCeh96orZ276vZ3Aml3KqbV8sYOB65pVItTXK306ruc9CpFRfNFPR7q5r7rnyj8gzkY+Ue9SKZdyZUdBnihlUxkZPUdqcoXKcnoO1egou+557a7EEjXQhJVBu3D+EdOaVXufNQFRjaM/KOuKftVYzyeo7U3an2lDubOB29qlp6a/iO67DI2ujE25BncMfKPepgZt6/KMbRnjvikVV8s/Meo7VINu5eT09KqMXpqKTXYgDXHlHKDO4fwil3XHnD5Rt2/3R1xTnVTHjc2M+lKqLvU7j9309qXK9NfxC67EMLXRibzEGdwx8o6U4tc/aAAg2beu0elSIiqh+Y9fShlUy/eOdvp7UlF2Wv4jcld6EAe68knYN27+6OmKkDXHnD5Rt2+g64/xpixRrCRvYjcP4fapQi+YPmbO309qUVLTX8RtoYGuPK+4N27+6OmKeDN5n3Rjb6d8URqqxn5mPPpT8Lvzk9PT2q4p2WpLaK1xHJLCA8KOQ3AKg9qy1udZXxJ9lEQFgBgHYv/PP169a2sJ5fVuvpWQLW3/4Sj7R50vmf3dgx9zHXP8ASuaumnFxe7XU6cPKNpKS6Pp/X3mnuufK+4N27+6OlOkafcw2AjYew67aeUXy/vHr6UhjXzS2452+ntXRyy7/AInPdGbO+oR2i+TAocucjYOmKuo1yZNrINpTn5R12/41DeRRfZ1DO4G89FHp9amSOPz87mzt9P8AZrnhGSla76dTWUk47d+hFdRM8KBreNvmPDIPQV84eLda8cL45v4LybVbfSF1TY8iWuwRwCUYIcJkAKBgg+lfRWrvBHBH5jSYLHG1Qe31ryjxnbWVt4u1PVbW4uJb9WR1gkiCRE/JwXDEgf8AAa4cf2v26+R9NwvWjTqvmgpXWl15rrrb1Oetr3QbjxZcyXfifV2jFjCFlN9PuJ8yTK564HBx7muK1q40yLwNG9rrN8b1LhWWM3MhVcTdQDxnHNepeHNU8UX/AIzvprfTNHEy6fAro99KF2+ZIQQRETnJPGPSuC1qLXLzwHDaNb6ekMt4iK4uHLbjccZGzGM+/SvEmtFK593gKjVZRlpZ0/txfR+X/DmX8ONShudT1CXVtd1KM+TEqOlzIpPzPkEr1Az+tX9J1S0/s/RreTxFqaIl9EWjF3KFjUSk7gOxHXIq18OV13wtruowxW2nXcs1tCzbrl0VQHfGCEOT1rP0PWtU36Pbx2NoSmoRsha4YbmEpIB+XgZ781F9dGd1Re0qTcVp7tvej/K/LT9T17wlBYatPqL2ckmuxp5IMl6zTshw/AMnIHTisv4ha1400e+1y5t4VstPgOIbqO2j3BSyKPmwSc5I6Vr+E9W1i81vU7e40uyWdILeQ+XesV2kyAcmPOcg9vSk1fR7fXmu723u5be5uY1ufLkhDImNrldwbJ4GM4r04yfslyvV+du58KnGljr4iKcEo7+9vyvppt1tbyF+A3iPXNf0vVZL+/lvjDcxqhkjUFQUyRwBWjq9zqISFre91k3T32y5jEDFVi3tu/gxjGOc1d+GGjS6dZX89xdRy/aZUAEaEbdi+5/2q62eJFMzmR/unIA/+vXo0Kc5UIuT/E8PMsVQWOq+yguV2t91n07+h59Hq0lrqlzbX2qXtvbiGN4A8ZXLEuHP3Oei13Wg3N7cQ2zTtvjeBW3EDklQc1kXskljc/a7dkkSeMRFZAQQVJOeP9/9K1tFt0t5o4fMZpI4gh+XAOAB61tRdpJKXa+p5FVaNtd+hb1GS6iZBarwc7uAai1K1W3tLm8sLWMXxQlWCAkk9asX8ayMm5iMA9BmjV3ji0ueSTdsVOdoya65x+Nv5eWnTsYU5NOCX/D+vco6JLqc2nq99FibewI2AccY6fjVwvdGSRduVGdvy+9Q+GpoZ9OLweZs8wj5wAc8ehNXo8eceueamjFunF8z18yq0rVJLlSEtWfyv3uFbJ46VKn3B9KrX0auy7mIwOwqyn3F+ldMG9Y9jnlbcWiiitCAooooAKKKKACiiigAooooAKy5zr41r/R4dL/szZyzu/nlvoBtx+NalFAGJdTXVtd282p/Y4LZbglHRz8o8p878jHWrMmrab5gxfWv/fYqXX4ZrjRbuGASGV4mVRGxVifQEEY/MU2SOT+0LFjDcMqRvudZSFU4H3hu+bPPUHHWk1cadhJdY0vYT/aFrx1zIOKE1jSwAp1C2DHt5gqhJa6h/ZGtxR/aRPO8vkFn3H5hgFcvwPQZXp2rRWKTz7FpI5XZI2DPvI2nA+8M4bP4880W1uF9LB/bGlYJ/tG2wOv7wcUf2xpecf2hbZ/66CqFxY3n9iaxBFJdiaeWVoW3kthgMbfn4Hbqv4VYkhuv7a06XbcGJIHWRhJhATt+8N3J/A9OopiOA+MHiLxTp/gee58AyW8mtC6iULHHE58r5t+Q3HpWz8Ndd1S68FaNceMJ7eLXnhJvUcIjKwduy8D5dvSt/ULa4uNF1WFLe7illkbbtmO5xxgp8/yggdMjucDNWp4bptesZlMv2dIJBJg/LuO3Gfm68HsfqK544fl6s65Yvmpez5Fe979dtvQpf2tZ+VJm7tOo/iX8alTVdP3RBry0Bxz8y560sNnOul30UiXchmuHbYJSH2sRkK3mccZxgrj0FWpbWRtatboNN5ccDoVDHZkleo3cnj0Pfkd2qCXUxdVvocR421uQWFv9nvF2mc+Z5CB+Ap64BxzWHb3NzMba+e2tZZo4223EttH56bWbbgkbhjjHFeiX1le/2HqUK/aZJprhnjWNtjBSw4UiQcYHqvfj10JFkOtQP5E7IIGHmiTCKSRwV3ck4GPl4x15rnlgFKSfOzrpZhKlFxUF1/E89ttU0qz1a3W11C4gsnhl+0skTKN4KbATs93q3p+vWzQ3bTaveG7W8YWqujDdEGXb/DgjBPJrontdRHhvU4I0u/tEs8hj3SbnKs3VSX4GM4+YY9BWlLBOfEcFwFl8hbV0Lbzs3Fl4I3deOu09OorohQUFZM5J1XN3ZzviTWLJfsw/tAJAWfzDAN3IHGcA471zEmvOulX8ianffbo5ZBZjyWyUBGzA2c8V3d9b3cvh25hitr6OdrgkIs+ZGHmfeDbxgEc43Djt2q5JFdHxNbzDzvsq2jqxyNm8suMjdnOB/dP1HeXhk3e7H7Z2tYx9M1zS31Irb6s81v5Lb/PJChwwAwWA5xurYGrabuH+nW3T++Kp26Sw6Fch47iTfdvhRcEMVaXs2/I656j0x2q4UmPigSb5vKWzIK7/AJMl+u3d1467fxrbkM+Ya2q6fs/4/LbOf7wpRqmmblP2y1zj+8Ky2F0vhWYyzag8jXZKtGzNLtMoxjbJnH0YcZ47VtmZTrogMdzvW2LhxnygC2CDzgtwMcZAzzzR7NBzlddW07Yf9Otev98U/wDtbTtw/wBOtsY/visfdKvhXcs+qhmvSA2xjNgy4xjfnbz13dOcdq1wkp8TNJ5k3li0AKbzsyW67d2M8Hnbn37UKHmHMMfVtP2f8ftrnP8AfFPXVtN3DN9bdP749KqXMUs/h9Via7hd7hWJ+0Ev/rMnDb+n+zu6cY7VdEcx8QySebJ5S2oVY8/LuLcnG7rwO3rzRyeY+YifVrDZ8t7bZz/eFPGradkE3tr05+celUbVJo/DsCym7lc3JIxdFXILnHz+YTj23H0x2q+sc3/CTPL5kxh+yBdnmfIG3ddu7r1529utL2fmHOMGq6bs/wCP216/3xTv7V03f/x+2vT++PSqMdrdS6BBFPdzxzG73mQOcn96SB8r9OnGcY4x2rURF/teZg028wjrI2wAn+7nGeOuPXnmnyIXMQf2tp23/j9tev8AfFL/AGtpu/8A4/rXp/fHpVGO1uB4dtIV1C6Li5VvNLMXdfMztJ35xjj7x47Y4q6Ipv8AhIp5t0xiNoF2hztzu7DdgHrztH1o5A5hr6tp/ljbe2vX++KrDUrL+0/M+0WmzH38rn7vrTbuOaXR9PWH7XETdozYnJYjcSctvBKnrjJ4wMVahjuP+ElvJPMuTD9mUKhf5Fb1A3dfwHQ81EqClbXYuNVq+g59W0/YMX1r1/vinf2tpu7/AI/rXp/fHpVPT45o/D1jHOt3K/2gZH2gh8eYSCW3kkAYOCTkDGO1TiCc6/qEnmXPlPaqoAk+UHn7o3cHrzgfWr5PMjmGz6pYNEu27tG5P8SmnLqth53N5a4x/eHpVG2gvm0DR4pJ7zzvtKtJIZfmI3E/NiTkEdstx2PStYKTqF6yrcB/KVQfNyh4/hXdgHPfA+tR7FXvcr2mlrHKeKNY006xax3GqTR2Zt2YG2VmUybwOSqnnFeV3V5LqGlRtfzao95Peol0wtJFfyPtGCcqgI/dgHIOeK9tis7qPStHtxdXhKXKtI5kyzLknaxMmSOndunTtViKO4/t/VXb7V5Bt0VMS8Zwc7Rv+U++F+pxXHiMuVaV+Zo9vAZ59Tikqd2ra37X8ut9fRHjGmaf4ctvFV06al4igs2soQsqXF4paTzJMruAycDacdOfesa10eyk0mzgmGrHFxG7xtJcfKPMzux2OOc+te7yx3cuk6MYY76FhdxtIhud7hdxJ3Nv+Zcdstx2OMVZEd5/bOruWuBE1siwneNoOGztG7g5Pov1rOOUU1bU2rcT4qa91tPT7T6K19LangOraTZxat5umjVTG0Cq0iyzkkhm4z179PeoYfDekRaXaSx2moJepKjttacFDu5IHY171aJcR6RoQmt9Rkk85Q6rd7TGDk5kPmHeBxxls+lTxR3f9ua0xa7ELW8YiPmfJu2tnYN/yn1+Vc5HJ7P+yaXd/h/kZf6yY3lS5vxf+fTZHjPhm00mPWbybU9R1+1R7eJYpIrm6UyEM+QSvXGRgH1rrVvpbbw9CsPlpttoULrEpm24QHPBYnGc5GetdUBeRaR4bjuHvVn+0R+dmQls99xV8EdsEsOe+BV57hPtOvKgvEkihBMhlLL9wkbF3YGPbGT3qoZZCNrSZliM7q4hWmr+ruvl/wAOznvA2sJ5N2s14BGJEMfnIE6jnGQM9qnGuWrTRrFqk0lyZnEsbqfL2/N6rjHAxzVgTSrpPhlhcX67rlFk+dizDpiQ7snnaOSc8+tX4JAuseIGea8ZUhjJQbgFGxjmP5+v0C8jvXXDDqMOW7PLnX5581kYHiPVrv7Laf2ebKViz7xsjYAYXbjPrz+VdLa6pYC6LPd2ijHJDKDVSaWF4PDzQyX8EbTLsjLMzYx0kO/kdud3JFLE7Lf+Jtt3eyFY0ZUbO2L92eI/m9c9NvP51FPCKEubmb2/A0qYtzgocqVr/iaU+r6Ydu2+tTnplxVXxBq1m2i3aWd3azXPl/JGWVsn6HiqVhdRrpXh3zvt8rSMFVhKykHgZk+YlvTknvSvI3m+KcT3ylYhtIY/J8jcx/PweO23kfl0ShzJq+5zwnyyUrbDPB+rKmjD+0Li0t5zK2FXYgK8YOBx61tJq+meYc39r/32KxTKy2vhf/SLsEsoOS2X4A+fD89eh3dfUVakuIXl8QwxvfRyRwqXcyuwGVfHlrn5SMH7uM8elTSpezio3vYutW9rNzta/Yu3OsablCl/akHp84OfpWnGQ0aspyCAQa5ZXbyvCp+03Y/vDcfnGwD5zu5OSOu7qa6urUbNsyburBRRRVCCiiigAooooAKKKKACiiigAooooAKKKKACiiigAooooAKKKKACiiigAooooAKKKKACiiigAooooAKKKKACiiigAooooAKKKKAMbVNGvLvUTd2/iHUrFDGEMEPlmPI3fNhlJzz+gq9pdpNZwPHNfXF6WkLB5tuVHHyjAHA/rRRQBbooooAKKKKACiiigAooooAKKKKACiiigAooooAKKKKACiiigAooooAKKKKACiiigAooooAKKKKACiiigAooooA//9k=">
            <a:extLst>
              <a:ext uri="{FF2B5EF4-FFF2-40B4-BE49-F238E27FC236}">
                <a16:creationId xmlns:a16="http://schemas.microsoft.com/office/drawing/2014/main" id="{C9DE09B2-B94F-4116-8FF3-D08C2549154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19600" y="2717074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>
              <a:solidFill>
                <a:srgbClr val="4D4F53"/>
              </a:solidFill>
            </a:endParaRPr>
          </a:p>
        </p:txBody>
      </p:sp>
      <p:pic>
        <p:nvPicPr>
          <p:cNvPr id="28" name="Picture 2" descr="WAGON BOGIES BACHE FRET SNCF 1/87 HO ROCO - TéO Modélisme">
            <a:extLst>
              <a:ext uri="{FF2B5EF4-FFF2-40B4-BE49-F238E27FC236}">
                <a16:creationId xmlns:a16="http://schemas.microsoft.com/office/drawing/2014/main" id="{CBB8E084-1B8E-40AC-87F3-12EAB27406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3419" y="620964"/>
            <a:ext cx="2996509" cy="12579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2">
            <a:extLst>
              <a:ext uri="{FF2B5EF4-FFF2-40B4-BE49-F238E27FC236}">
                <a16:creationId xmlns:a16="http://schemas.microsoft.com/office/drawing/2014/main" id="{DC59EBE9-7F36-48DE-A366-394FA5E425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110" y="1709506"/>
            <a:ext cx="3800880" cy="216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" name="ZoneTexte 40">
            <a:extLst>
              <a:ext uri="{FF2B5EF4-FFF2-40B4-BE49-F238E27FC236}">
                <a16:creationId xmlns:a16="http://schemas.microsoft.com/office/drawing/2014/main" id="{CA97F506-2F47-4BB8-9926-888C11A71AC2}"/>
              </a:ext>
            </a:extLst>
          </p:cNvPr>
          <p:cNvSpPr txBox="1"/>
          <p:nvPr/>
        </p:nvSpPr>
        <p:spPr>
          <a:xfrm>
            <a:off x="1192516" y="3936732"/>
            <a:ext cx="28860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700" i="1"/>
            </a:lvl1pPr>
          </a:lstStyle>
          <a:p>
            <a:pPr algn="l"/>
            <a:r>
              <a:rPr lang="fr-FR" sz="1800" dirty="0">
                <a:solidFill>
                  <a:srgbClr val="4D4F53"/>
                </a:solidFill>
              </a:rPr>
              <a:t>A </a:t>
            </a:r>
            <a:r>
              <a:rPr lang="fr-FR" sz="1800" dirty="0" err="1">
                <a:solidFill>
                  <a:srgbClr val="4D4F53"/>
                </a:solidFill>
              </a:rPr>
              <a:t>wagon’s</a:t>
            </a:r>
            <a:r>
              <a:rPr lang="fr-FR" sz="1800" dirty="0">
                <a:solidFill>
                  <a:srgbClr val="4D4F53"/>
                </a:solidFill>
              </a:rPr>
              <a:t> life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568EDFF-295B-40EE-B2D7-3A03ED472B38}"/>
              </a:ext>
            </a:extLst>
          </p:cNvPr>
          <p:cNvSpPr/>
          <p:nvPr/>
        </p:nvSpPr>
        <p:spPr>
          <a:xfrm>
            <a:off x="4867344" y="2142904"/>
            <a:ext cx="3712776" cy="114834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defTabSz="40005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fr-FR" sz="1000" kern="0" dirty="0" err="1">
                <a:solidFill>
                  <a:srgbClr val="4D4F53"/>
                </a:solidFill>
              </a:rPr>
              <a:t>Predict</a:t>
            </a:r>
            <a:r>
              <a:rPr lang="fr-FR" sz="1000" kern="0" dirty="0">
                <a:solidFill>
                  <a:srgbClr val="4D4F53"/>
                </a:solidFill>
              </a:rPr>
              <a:t> a </a:t>
            </a:r>
            <a:r>
              <a:rPr lang="fr-FR" sz="1000" kern="0" dirty="0" err="1">
                <a:solidFill>
                  <a:srgbClr val="4D4F53"/>
                </a:solidFill>
              </a:rPr>
              <a:t>risk</a:t>
            </a:r>
            <a:r>
              <a:rPr lang="fr-FR" sz="1000" kern="0" dirty="0">
                <a:solidFill>
                  <a:srgbClr val="4D4F53"/>
                </a:solidFill>
              </a:rPr>
              <a:t> of breakdown in the </a:t>
            </a:r>
            <a:r>
              <a:rPr lang="fr-FR" sz="1000" kern="0" dirty="0" err="1">
                <a:solidFill>
                  <a:srgbClr val="4D4F53"/>
                </a:solidFill>
              </a:rPr>
              <a:t>next</a:t>
            </a:r>
            <a:r>
              <a:rPr lang="fr-FR" sz="1000" kern="0" dirty="0">
                <a:solidFill>
                  <a:srgbClr val="4D4F53"/>
                </a:solidFill>
              </a:rPr>
              <a:t> 4 </a:t>
            </a:r>
            <a:r>
              <a:rPr lang="fr-FR" sz="1000" kern="0" dirty="0" err="1">
                <a:solidFill>
                  <a:srgbClr val="4D4F53"/>
                </a:solidFill>
              </a:rPr>
              <a:t>months</a:t>
            </a:r>
            <a:r>
              <a:rPr lang="fr-FR" sz="1000" kern="0" dirty="0">
                <a:solidFill>
                  <a:srgbClr val="4D4F53"/>
                </a:solidFill>
              </a:rPr>
              <a:t> on 12 000 wagons</a:t>
            </a:r>
          </a:p>
        </p:txBody>
      </p:sp>
    </p:spTree>
    <p:extLst>
      <p:ext uri="{BB962C8B-B14F-4D97-AF65-F5344CB8AC3E}">
        <p14:creationId xmlns:p14="http://schemas.microsoft.com/office/powerpoint/2010/main" val="2493296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\\commun.ad.sncf.fr\campus\Home\RESSOURCES\Visuels\logo-sncf-peti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1132" y="4392011"/>
            <a:ext cx="966353" cy="5606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re 1"/>
          <p:cNvSpPr txBox="1">
            <a:spLocks/>
          </p:cNvSpPr>
          <p:nvPr/>
        </p:nvSpPr>
        <p:spPr bwMode="gray">
          <a:xfrm>
            <a:off x="2680282" y="1020855"/>
            <a:ext cx="5828097" cy="190095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 defTabSz="91436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kern="1200" cap="all" baseline="0">
                <a:solidFill>
                  <a:srgbClr val="FFFFFF"/>
                </a:solidFill>
                <a:latin typeface="Avenir LT Std 65 Medium" pitchFamily="34" charset="0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fr-FR" b="1" dirty="0" err="1"/>
              <a:t>supply</a:t>
            </a:r>
            <a:r>
              <a:rPr lang="fr-FR" b="1" dirty="0"/>
              <a:t> </a:t>
            </a:r>
            <a:r>
              <a:rPr lang="fr-FR" b="1" dirty="0" err="1"/>
              <a:t>chain</a:t>
            </a:r>
            <a:endParaRPr lang="fr-FR" sz="2800" b="1" dirty="0"/>
          </a:p>
        </p:txBody>
      </p:sp>
      <p:sp>
        <p:nvSpPr>
          <p:cNvPr id="9" name="Organigramme : Connecteur 8"/>
          <p:cNvSpPr/>
          <p:nvPr/>
        </p:nvSpPr>
        <p:spPr>
          <a:xfrm>
            <a:off x="636233" y="1071334"/>
            <a:ext cx="1800000" cy="1800000"/>
          </a:xfrm>
          <a:prstGeom prst="flowChartConnector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0" y="4478345"/>
            <a:ext cx="1541575" cy="387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1839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" name="TITRAGE…"/>
          <p:cNvSpPr txBox="1"/>
          <p:nvPr/>
        </p:nvSpPr>
        <p:spPr>
          <a:xfrm>
            <a:off x="643489" y="1587522"/>
            <a:ext cx="3008807" cy="3461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19050" tIns="19050" rIns="19050" bIns="19050" anchor="ctr">
            <a:spAutoFit/>
          </a:bodyPr>
          <a:lstStyle/>
          <a:p>
            <a:pPr algn="l">
              <a:lnSpc>
                <a:spcPct val="80000"/>
              </a:lnSpc>
              <a:defRPr sz="6500">
                <a:solidFill>
                  <a:srgbClr val="01072E"/>
                </a:solidFill>
                <a:latin typeface="Avenir Black"/>
                <a:ea typeface="Avenir Black"/>
                <a:cs typeface="Avenir Black"/>
                <a:sym typeface="Avenir Black"/>
              </a:defRPr>
            </a:pPr>
            <a:r>
              <a:rPr lang="fr-FR" sz="2438" dirty="0"/>
              <a:t>Maintenance</a:t>
            </a:r>
            <a:endParaRPr sz="2438" dirty="0"/>
          </a:p>
        </p:txBody>
      </p:sp>
      <p:pic>
        <p:nvPicPr>
          <p:cNvPr id="202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5703" y="2036797"/>
            <a:ext cx="2201461" cy="14288"/>
          </a:xfrm>
          <a:prstGeom prst="rect">
            <a:avLst/>
          </a:prstGeom>
          <a:ln w="12700">
            <a:miter lim="400000"/>
          </a:ln>
        </p:spPr>
      </p:pic>
      <p:pic>
        <p:nvPicPr>
          <p:cNvPr id="3" name="Image 2" descr="Une image contenant bâtiment, intérieur&#10;&#10;Description générée automatiquement">
            <a:extLst>
              <a:ext uri="{FF2B5EF4-FFF2-40B4-BE49-F238E27FC236}">
                <a16:creationId xmlns:a16="http://schemas.microsoft.com/office/drawing/2014/main" id="{11E609FB-EFC9-4C09-8D4C-214BCF6DA8E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743"/>
          <a:stretch/>
        </p:blipFill>
        <p:spPr>
          <a:xfrm>
            <a:off x="3129890" y="421131"/>
            <a:ext cx="5909014" cy="4407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614297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" name="TITRAGE…"/>
          <p:cNvSpPr txBox="1"/>
          <p:nvPr/>
        </p:nvSpPr>
        <p:spPr>
          <a:xfrm>
            <a:off x="5617878" y="397854"/>
            <a:ext cx="3046061" cy="3461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19050" tIns="19050" rIns="19050" bIns="19050" anchor="ctr">
            <a:spAutoFit/>
          </a:bodyPr>
          <a:lstStyle/>
          <a:p>
            <a:pPr algn="ctr">
              <a:lnSpc>
                <a:spcPct val="80000"/>
              </a:lnSpc>
              <a:defRPr sz="6500">
                <a:solidFill>
                  <a:srgbClr val="01072E"/>
                </a:solidFill>
                <a:latin typeface="Avenir Black"/>
                <a:ea typeface="Avenir Black"/>
                <a:cs typeface="Avenir Black"/>
                <a:sym typeface="Avenir Black"/>
              </a:defRPr>
            </a:pPr>
            <a:r>
              <a:rPr lang="fr-FR" sz="2438" dirty="0" err="1"/>
              <a:t>Supply</a:t>
            </a:r>
            <a:r>
              <a:rPr lang="fr-FR" sz="2438" dirty="0"/>
              <a:t> </a:t>
            </a:r>
            <a:r>
              <a:rPr lang="fr-FR" sz="2438" dirty="0" err="1"/>
              <a:t>chain</a:t>
            </a:r>
            <a:r>
              <a:rPr lang="fr-FR" sz="2438" dirty="0"/>
              <a:t> stocks</a:t>
            </a:r>
            <a:endParaRPr sz="2438" dirty="0"/>
          </a:p>
        </p:txBody>
      </p:sp>
      <p:sp>
        <p:nvSpPr>
          <p:cNvPr id="207" name="At vero eos et accusamus et iusto odio dignissimos ducimus qui blanditiis praesentium voluptatum deleniti atque corrupti quos dolores et quas molestias excepturi sint occaecati cupiditate"/>
          <p:cNvSpPr txBox="1"/>
          <p:nvPr/>
        </p:nvSpPr>
        <p:spPr>
          <a:xfrm>
            <a:off x="5536680" y="2262596"/>
            <a:ext cx="3607320" cy="15118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19050" tIns="19050" rIns="19050" bIns="19050" anchor="ctr">
            <a:spAutoFit/>
          </a:bodyPr>
          <a:lstStyle>
            <a:lvl1pPr algn="l" defTabSz="457200">
              <a:lnSpc>
                <a:spcPct val="80000"/>
              </a:lnSpc>
              <a:defRPr sz="2500">
                <a:solidFill>
                  <a:srgbClr val="000000"/>
                </a:solidFill>
                <a:latin typeface="Avenir Heavy"/>
                <a:ea typeface="Avenir Heavy"/>
                <a:cs typeface="Avenir Heavy"/>
                <a:sym typeface="Avenir Heavy"/>
              </a:defRPr>
            </a:lvl1pPr>
          </a:lstStyle>
          <a:p>
            <a:r>
              <a:rPr lang="fr-FR" sz="1600" dirty="0">
                <a:latin typeface="+mj-lt"/>
              </a:rPr>
              <a:t>Stocks &gt; </a:t>
            </a:r>
            <a:r>
              <a:rPr lang="fr-FR" sz="1600" dirty="0" err="1">
                <a:latin typeface="+mj-lt"/>
              </a:rPr>
              <a:t>Needs</a:t>
            </a:r>
            <a:endParaRPr lang="fr-FR" sz="1600" dirty="0">
              <a:latin typeface="+mj-lt"/>
            </a:endParaRPr>
          </a:p>
          <a:p>
            <a:endParaRPr lang="fr-FR" sz="1600" dirty="0">
              <a:latin typeface="+mj-lt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sz="1200" dirty="0">
                <a:latin typeface="+mj-lt"/>
              </a:rPr>
              <a:t>100s of millions €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sz="1200" dirty="0">
                <a:latin typeface="+mj-lt"/>
              </a:rPr>
              <a:t>150 000 </a:t>
            </a:r>
            <a:r>
              <a:rPr lang="fr-FR" sz="1200" dirty="0" err="1">
                <a:latin typeface="+mj-lt"/>
              </a:rPr>
              <a:t>references</a:t>
            </a:r>
            <a:endParaRPr lang="fr-FR" sz="1200" dirty="0">
              <a:latin typeface="+mj-lt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sz="1200" dirty="0">
                <a:latin typeface="+mj-lt"/>
              </a:rPr>
              <a:t>60 000 workshop </a:t>
            </a:r>
            <a:r>
              <a:rPr lang="fr-FR" sz="1200" dirty="0" err="1">
                <a:latin typeface="+mj-lt"/>
              </a:rPr>
              <a:t>deliveries</a:t>
            </a:r>
            <a:r>
              <a:rPr lang="fr-FR" sz="1200" dirty="0">
                <a:latin typeface="+mj-lt"/>
              </a:rPr>
              <a:t> at « </a:t>
            </a:r>
            <a:r>
              <a:rPr lang="fr-FR" sz="1200" dirty="0" err="1">
                <a:latin typeface="+mj-lt"/>
              </a:rPr>
              <a:t>day</a:t>
            </a:r>
            <a:r>
              <a:rPr lang="fr-FR" sz="1200" dirty="0">
                <a:latin typeface="+mj-lt"/>
              </a:rPr>
              <a:t> + 1 » </a:t>
            </a:r>
            <a:br>
              <a:rPr lang="fr-FR" sz="1200" dirty="0">
                <a:latin typeface="+mj-lt"/>
              </a:rPr>
            </a:br>
            <a:r>
              <a:rPr lang="fr-FR" sz="1200" dirty="0" err="1">
                <a:latin typeface="+mj-lt"/>
              </a:rPr>
              <a:t>every</a:t>
            </a:r>
            <a:r>
              <a:rPr lang="fr-FR" sz="1200" dirty="0">
                <a:latin typeface="+mj-lt"/>
              </a:rPr>
              <a:t> </a:t>
            </a:r>
            <a:r>
              <a:rPr lang="fr-FR" sz="1200" dirty="0" err="1">
                <a:latin typeface="+mj-lt"/>
              </a:rPr>
              <a:t>month</a:t>
            </a:r>
            <a:endParaRPr lang="fr-FR" sz="1200" dirty="0">
              <a:latin typeface="+mj-lt"/>
            </a:endParaRPr>
          </a:p>
        </p:txBody>
      </p:sp>
      <p:pic>
        <p:nvPicPr>
          <p:cNvPr id="208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02759" y="775887"/>
            <a:ext cx="2201461" cy="14288"/>
          </a:xfrm>
          <a:prstGeom prst="rect">
            <a:avLst/>
          </a:prstGeom>
          <a:ln w="12700">
            <a:miter lim="400000"/>
          </a:ln>
        </p:spPr>
      </p:pic>
      <p:pic>
        <p:nvPicPr>
          <p:cNvPr id="11" name="Espace réservé du contenu 8">
            <a:extLst>
              <a:ext uri="{FF2B5EF4-FFF2-40B4-BE49-F238E27FC236}">
                <a16:creationId xmlns:a16="http://schemas.microsoft.com/office/drawing/2014/main" id="{150833F9-2816-4C44-9C03-0F3535BA3C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7295" y="667702"/>
            <a:ext cx="5066874" cy="419564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</p:pic>
    </p:spTree>
    <p:extLst>
      <p:ext uri="{BB962C8B-B14F-4D97-AF65-F5344CB8AC3E}">
        <p14:creationId xmlns:p14="http://schemas.microsoft.com/office/powerpoint/2010/main" val="383887478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TITRAGE…"/>
          <p:cNvSpPr txBox="1"/>
          <p:nvPr/>
        </p:nvSpPr>
        <p:spPr>
          <a:xfrm>
            <a:off x="271249" y="170582"/>
            <a:ext cx="4166937" cy="3461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19050" tIns="19050" rIns="19050" bIns="19050" anchor="ctr">
            <a:spAutoFit/>
          </a:bodyPr>
          <a:lstStyle/>
          <a:p>
            <a:pPr algn="l">
              <a:lnSpc>
                <a:spcPct val="80000"/>
              </a:lnSpc>
              <a:defRPr sz="6500">
                <a:solidFill>
                  <a:srgbClr val="01072E"/>
                </a:solidFill>
                <a:latin typeface="Avenir Black"/>
                <a:ea typeface="Avenir Black"/>
                <a:cs typeface="Avenir Black"/>
                <a:sym typeface="Avenir Black"/>
              </a:defRPr>
            </a:pPr>
            <a:r>
              <a:rPr lang="fr-FR" sz="2438" dirty="0" err="1"/>
              <a:t>Define</a:t>
            </a:r>
            <a:r>
              <a:rPr lang="fr-FR" sz="2438" dirty="0"/>
              <a:t> </a:t>
            </a:r>
            <a:r>
              <a:rPr lang="fr-FR" sz="2438" dirty="0" err="1"/>
              <a:t>overstock</a:t>
            </a:r>
            <a:endParaRPr sz="2438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74F2ECD-476D-1A42-B271-452266847A16}"/>
              </a:ext>
            </a:extLst>
          </p:cNvPr>
          <p:cNvSpPr/>
          <p:nvPr/>
        </p:nvSpPr>
        <p:spPr>
          <a:xfrm>
            <a:off x="6117307" y="2285188"/>
            <a:ext cx="277065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fr-FR" sz="1600" dirty="0">
                <a:latin typeface="Avenir Book" panose="02000503020000020003" pitchFamily="2" charset="0"/>
                <a:cs typeface="Arial"/>
              </a:rPr>
              <a:t>Target </a:t>
            </a:r>
            <a:r>
              <a:rPr lang="fr-FR" sz="1600" dirty="0" err="1">
                <a:latin typeface="Avenir Book" panose="02000503020000020003" pitchFamily="2" charset="0"/>
                <a:cs typeface="Arial"/>
              </a:rPr>
              <a:t>overstock</a:t>
            </a:r>
            <a:r>
              <a:rPr lang="fr-FR" sz="1600" dirty="0">
                <a:latin typeface="Avenir Book" panose="02000503020000020003" pitchFamily="2" charset="0"/>
                <a:cs typeface="Arial"/>
              </a:rPr>
              <a:t>:</a:t>
            </a:r>
          </a:p>
          <a:p>
            <a:pPr algn="l"/>
            <a:r>
              <a:rPr lang="fr-FR" sz="1600" dirty="0" err="1">
                <a:latin typeface="Avenir Book" panose="02000503020000020003" pitchFamily="2" charset="0"/>
                <a:cs typeface="Arial"/>
              </a:rPr>
              <a:t>overstock</a:t>
            </a:r>
            <a:r>
              <a:rPr lang="fr-FR" sz="1600" dirty="0">
                <a:latin typeface="Avenir Book" panose="02000503020000020003" pitchFamily="2" charset="0"/>
                <a:cs typeface="Arial"/>
              </a:rPr>
              <a:t> / </a:t>
            </a:r>
            <a:r>
              <a:rPr lang="fr-FR" sz="1600" dirty="0" err="1">
                <a:latin typeface="Avenir Book" panose="02000503020000020003" pitchFamily="2" charset="0"/>
                <a:cs typeface="Arial"/>
              </a:rPr>
              <a:t>consumption</a:t>
            </a:r>
            <a:r>
              <a:rPr lang="fr-FR" sz="1600" dirty="0">
                <a:latin typeface="Avenir Book" panose="02000503020000020003" pitchFamily="2" charset="0"/>
                <a:cs typeface="Arial"/>
              </a:rPr>
              <a:t> rate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FF73940-DDDC-8D47-9C85-9C1EF50A2D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290" y="1403258"/>
            <a:ext cx="4334227" cy="2933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5447639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" name="TITRAGE…"/>
          <p:cNvSpPr txBox="1"/>
          <p:nvPr/>
        </p:nvSpPr>
        <p:spPr>
          <a:xfrm>
            <a:off x="841825" y="780800"/>
            <a:ext cx="2438996" cy="3461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19050" tIns="19050" rIns="19050" bIns="19050" anchor="ctr">
            <a:spAutoFit/>
          </a:bodyPr>
          <a:lstStyle/>
          <a:p>
            <a:pPr algn="ctr">
              <a:lnSpc>
                <a:spcPct val="80000"/>
              </a:lnSpc>
              <a:defRPr sz="6500">
                <a:solidFill>
                  <a:srgbClr val="01072E"/>
                </a:solidFill>
                <a:latin typeface="Avenir Black"/>
                <a:ea typeface="Avenir Black"/>
                <a:cs typeface="Avenir Black"/>
                <a:sym typeface="Avenir Black"/>
              </a:defRPr>
            </a:pPr>
            <a:r>
              <a:rPr lang="fr-FR" sz="2438" dirty="0"/>
              <a:t>Inputs</a:t>
            </a:r>
            <a:endParaRPr sz="2438" dirty="0"/>
          </a:p>
        </p:txBody>
      </p:sp>
      <p:pic>
        <p:nvPicPr>
          <p:cNvPr id="222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9360" y="1197615"/>
            <a:ext cx="2201461" cy="14288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6" name="Groupe 15">
            <a:extLst>
              <a:ext uri="{FF2B5EF4-FFF2-40B4-BE49-F238E27FC236}">
                <a16:creationId xmlns:a16="http://schemas.microsoft.com/office/drawing/2014/main" id="{06252E18-CCE6-4C42-B500-609026BD424B}"/>
              </a:ext>
            </a:extLst>
          </p:cNvPr>
          <p:cNvGrpSpPr/>
          <p:nvPr/>
        </p:nvGrpSpPr>
        <p:grpSpPr>
          <a:xfrm>
            <a:off x="4401578" y="1176200"/>
            <a:ext cx="3858502" cy="3639641"/>
            <a:chOff x="6152537" y="1251573"/>
            <a:chExt cx="2568677" cy="4261959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F7E6FAB-43B3-4478-A498-C3DB066B7E52}"/>
                </a:ext>
              </a:extLst>
            </p:cNvPr>
            <p:cNvSpPr/>
            <p:nvPr/>
          </p:nvSpPr>
          <p:spPr>
            <a:xfrm>
              <a:off x="6152537" y="1251573"/>
              <a:ext cx="2568677" cy="399740"/>
            </a:xfrm>
            <a:prstGeom prst="rect">
              <a:avLst/>
            </a:prstGeom>
            <a:solidFill>
              <a:srgbClr val="0070C0"/>
            </a:solidFill>
            <a:ln w="25400" cap="flat" cmpd="sng" algn="ctr">
              <a:solidFill>
                <a:srgbClr val="0070C0"/>
              </a:solidFill>
              <a:prstDash val="solid"/>
            </a:ln>
            <a:effectLst/>
          </p:spPr>
          <p:txBody>
            <a:bodyPr rtlCol="0" anchor="ctr"/>
            <a:lstStyle/>
            <a:p>
              <a:pPr defTabSz="342900">
                <a:defRPr/>
              </a:pPr>
              <a:r>
                <a:rPr lang="fr-FR" sz="1200" kern="0" dirty="0" err="1">
                  <a:solidFill>
                    <a:prstClr val="white"/>
                  </a:solidFill>
                  <a:latin typeface="Avenir LT Std 45 Book"/>
                </a:rPr>
                <a:t>Many</a:t>
              </a:r>
              <a:r>
                <a:rPr lang="fr-FR" sz="1200" kern="0" dirty="0">
                  <a:solidFill>
                    <a:prstClr val="white"/>
                  </a:solidFill>
                  <a:latin typeface="Avenir LT Std 45 Book"/>
                </a:rPr>
                <a:t> possible </a:t>
              </a:r>
              <a:r>
                <a:rPr lang="fr-FR" sz="1200" kern="0" dirty="0" err="1">
                  <a:solidFill>
                    <a:prstClr val="white"/>
                  </a:solidFill>
                  <a:latin typeface="Avenir LT Std 45 Book"/>
                </a:rPr>
                <a:t>inductors</a:t>
              </a:r>
              <a:endParaRPr lang="fr-FR" sz="1200" kern="0" dirty="0">
                <a:solidFill>
                  <a:prstClr val="white"/>
                </a:solidFill>
                <a:latin typeface="Avenir LT Std 45 Book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99FB7767-CBE5-4FCC-8478-13ADCFFD01DC}"/>
                </a:ext>
              </a:extLst>
            </p:cNvPr>
            <p:cNvSpPr/>
            <p:nvPr/>
          </p:nvSpPr>
          <p:spPr>
            <a:xfrm>
              <a:off x="6152537" y="1651313"/>
              <a:ext cx="2568677" cy="3862219"/>
            </a:xfrm>
            <a:prstGeom prst="rect">
              <a:avLst/>
            </a:prstGeom>
            <a:noFill/>
            <a:ln w="25400" cap="flat" cmpd="sng" algn="ctr">
              <a:solidFill>
                <a:srgbClr val="0070C0"/>
              </a:solidFill>
              <a:prstDash val="solid"/>
            </a:ln>
            <a:effectLst/>
          </p:spPr>
          <p:txBody>
            <a:bodyPr rtlCol="0" anchor="t"/>
            <a:lstStyle/>
            <a:p>
              <a:pPr defTabSz="342900">
                <a:defRPr/>
              </a:pPr>
              <a:endParaRPr lang="fr-FR" sz="1050" kern="0" dirty="0">
                <a:solidFill>
                  <a:srgbClr val="3C3732"/>
                </a:solidFill>
                <a:latin typeface="Avenir LT Std 45 Book"/>
              </a:endParaRPr>
            </a:p>
            <a:p>
              <a:pPr marL="128588" indent="-128588">
                <a:buFont typeface="Arial" panose="020B0604020202020204" pitchFamily="34" charset="0"/>
                <a:buChar char="•"/>
              </a:pPr>
              <a:r>
                <a:rPr lang="fr-FR" sz="1200" dirty="0" err="1">
                  <a:solidFill>
                    <a:srgbClr val="3C3732"/>
                  </a:solidFill>
                  <a:latin typeface="Avenir LT Std 45 Book"/>
                </a:rPr>
                <a:t>References</a:t>
              </a:r>
              <a:r>
                <a:rPr lang="fr-FR" sz="1200" dirty="0">
                  <a:solidFill>
                    <a:srgbClr val="3C3732"/>
                  </a:solidFill>
                  <a:latin typeface="Avenir LT Std 45 Book"/>
                </a:rPr>
                <a:t>:</a:t>
              </a:r>
              <a:br>
                <a:rPr lang="fr-FR" sz="1200" dirty="0">
                  <a:solidFill>
                    <a:srgbClr val="3C3732"/>
                  </a:solidFill>
                  <a:latin typeface="Avenir LT Std 45 Book"/>
                </a:rPr>
              </a:br>
              <a:r>
                <a:rPr lang="fr-FR" sz="1200" dirty="0">
                  <a:solidFill>
                    <a:srgbClr val="3C3732"/>
                  </a:solidFill>
                  <a:latin typeface="Avenir LT Std 45 Book"/>
                </a:rPr>
                <a:t>- item </a:t>
              </a:r>
              <a:r>
                <a:rPr lang="fr-FR" sz="1200" dirty="0" err="1">
                  <a:solidFill>
                    <a:srgbClr val="3C3732"/>
                  </a:solidFill>
                  <a:latin typeface="Avenir LT Std 45 Book"/>
                </a:rPr>
                <a:t>references</a:t>
              </a:r>
              <a:r>
                <a:rPr lang="fr-FR" sz="1200" dirty="0">
                  <a:solidFill>
                    <a:srgbClr val="3C3732"/>
                  </a:solidFill>
                  <a:latin typeface="Avenir LT Std 45 Book"/>
                </a:rPr>
                <a:t/>
              </a:r>
              <a:br>
                <a:rPr lang="fr-FR" sz="1200" dirty="0">
                  <a:solidFill>
                    <a:srgbClr val="3C3732"/>
                  </a:solidFill>
                  <a:latin typeface="Avenir LT Std 45 Book"/>
                </a:rPr>
              </a:br>
              <a:r>
                <a:rPr lang="fr-FR" sz="1200" dirty="0">
                  <a:solidFill>
                    <a:srgbClr val="3C3732"/>
                  </a:solidFill>
                  <a:latin typeface="Avenir LT Std 45 Book"/>
                </a:rPr>
                <a:t>- </a:t>
              </a:r>
              <a:r>
                <a:rPr lang="fr-FR" sz="1200" dirty="0" err="1">
                  <a:solidFill>
                    <a:srgbClr val="3C3732"/>
                  </a:solidFill>
                  <a:latin typeface="Avenir LT Std 45 Book"/>
                </a:rPr>
                <a:t>Entities</a:t>
              </a:r>
              <a:r>
                <a:rPr lang="fr-FR" sz="1200" dirty="0">
                  <a:solidFill>
                    <a:srgbClr val="3C3732"/>
                  </a:solidFill>
                  <a:latin typeface="Avenir LT Std 45 Book"/>
                </a:rPr>
                <a:t/>
              </a:r>
              <a:br>
                <a:rPr lang="fr-FR" sz="1200" dirty="0">
                  <a:solidFill>
                    <a:srgbClr val="3C3732"/>
                  </a:solidFill>
                  <a:latin typeface="Avenir LT Std 45 Book"/>
                </a:rPr>
              </a:br>
              <a:r>
                <a:rPr lang="fr-FR" sz="1200" dirty="0">
                  <a:solidFill>
                    <a:srgbClr val="3C3732"/>
                  </a:solidFill>
                  <a:latin typeface="Avenir LT Std 45 Book"/>
                </a:rPr>
                <a:t>- Nomenclatures</a:t>
              </a:r>
              <a:br>
                <a:rPr lang="fr-FR" sz="1200" dirty="0">
                  <a:solidFill>
                    <a:srgbClr val="3C3732"/>
                  </a:solidFill>
                  <a:latin typeface="Avenir LT Std 45 Book"/>
                </a:rPr>
              </a:br>
              <a:r>
                <a:rPr lang="fr-FR" sz="1200" dirty="0">
                  <a:solidFill>
                    <a:srgbClr val="3C3732"/>
                  </a:solidFill>
                  <a:latin typeface="Avenir LT Std 45 Book"/>
                </a:rPr>
                <a:t>- Rolling stock </a:t>
              </a:r>
              <a:r>
                <a:rPr lang="fr-FR" sz="1200" dirty="0" err="1">
                  <a:solidFill>
                    <a:srgbClr val="3C3732"/>
                  </a:solidFill>
                  <a:latin typeface="Avenir LT Std 45 Book"/>
                </a:rPr>
                <a:t>series</a:t>
              </a:r>
              <a:r>
                <a:rPr lang="fr-FR" sz="1200" dirty="0">
                  <a:solidFill>
                    <a:srgbClr val="3C3732"/>
                  </a:solidFill>
                  <a:latin typeface="Avenir LT Std 45 Book"/>
                </a:rPr>
                <a:t/>
              </a:r>
              <a:br>
                <a:rPr lang="fr-FR" sz="1200" dirty="0">
                  <a:solidFill>
                    <a:srgbClr val="3C3732"/>
                  </a:solidFill>
                  <a:latin typeface="Avenir LT Std 45 Book"/>
                </a:rPr>
              </a:br>
              <a:endParaRPr lang="fr-FR" sz="1200" dirty="0">
                <a:solidFill>
                  <a:srgbClr val="3C3732"/>
                </a:solidFill>
                <a:latin typeface="Avenir LT Std 45 Book"/>
              </a:endParaRPr>
            </a:p>
            <a:p>
              <a:pPr marL="128588" indent="-128588">
                <a:buFont typeface="Arial" panose="020B0604020202020204" pitchFamily="34" charset="0"/>
                <a:buChar char="•"/>
              </a:pPr>
              <a:r>
                <a:rPr lang="fr-FR" sz="1200" dirty="0" err="1">
                  <a:solidFill>
                    <a:srgbClr val="3C3732"/>
                  </a:solidFill>
                  <a:latin typeface="Avenir LT Std 45 Book"/>
                </a:rPr>
                <a:t>History</a:t>
              </a:r>
              <a:r>
                <a:rPr lang="fr-FR" sz="1200" dirty="0">
                  <a:solidFill>
                    <a:srgbClr val="3C3732"/>
                  </a:solidFill>
                  <a:latin typeface="Avenir LT Std 45 Book"/>
                </a:rPr>
                <a:t> of </a:t>
              </a:r>
              <a:r>
                <a:rPr lang="fr-FR" sz="1200" dirty="0" err="1">
                  <a:solidFill>
                    <a:srgbClr val="3C3732"/>
                  </a:solidFill>
                  <a:latin typeface="Avenir LT Std 45 Book"/>
                </a:rPr>
                <a:t>procurement</a:t>
              </a:r>
              <a:r>
                <a:rPr lang="fr-FR" sz="1200" dirty="0">
                  <a:solidFill>
                    <a:srgbClr val="3C3732"/>
                  </a:solidFill>
                  <a:latin typeface="Avenir LT Std 45 Book"/>
                </a:rPr>
                <a:t>:</a:t>
              </a:r>
              <a:br>
                <a:rPr lang="fr-FR" sz="1200" dirty="0">
                  <a:solidFill>
                    <a:srgbClr val="3C3732"/>
                  </a:solidFill>
                  <a:latin typeface="Avenir LT Std 45 Book"/>
                </a:rPr>
              </a:br>
              <a:r>
                <a:rPr lang="fr-FR" sz="1200" dirty="0">
                  <a:solidFill>
                    <a:srgbClr val="3C3732"/>
                  </a:solidFill>
                  <a:latin typeface="Avenir LT Std 45 Book"/>
                </a:rPr>
                <a:t>- Stock </a:t>
              </a:r>
              <a:r>
                <a:rPr lang="fr-FR" sz="1200" dirty="0" err="1">
                  <a:solidFill>
                    <a:srgbClr val="3C3732"/>
                  </a:solidFill>
                  <a:latin typeface="Avenir LT Std 45 Book"/>
                </a:rPr>
                <a:t>history</a:t>
              </a:r>
              <a:r>
                <a:rPr lang="fr-FR" sz="1200" dirty="0">
                  <a:solidFill>
                    <a:srgbClr val="3C3732"/>
                  </a:solidFill>
                  <a:latin typeface="Avenir LT Std 45 Book"/>
                </a:rPr>
                <a:t/>
              </a:r>
              <a:br>
                <a:rPr lang="fr-FR" sz="1200" dirty="0">
                  <a:solidFill>
                    <a:srgbClr val="3C3732"/>
                  </a:solidFill>
                  <a:latin typeface="Avenir LT Std 45 Book"/>
                </a:rPr>
              </a:br>
              <a:r>
                <a:rPr lang="fr-FR" sz="1200" dirty="0">
                  <a:solidFill>
                    <a:srgbClr val="3C3732"/>
                  </a:solidFill>
                  <a:latin typeface="Avenir LT Std 45 Book"/>
                </a:rPr>
                <a:t>- </a:t>
              </a:r>
              <a:r>
                <a:rPr lang="fr-FR" sz="1200" dirty="0" err="1">
                  <a:solidFill>
                    <a:srgbClr val="3C3732"/>
                  </a:solidFill>
                  <a:latin typeface="Avenir LT Std 45 Book"/>
                </a:rPr>
                <a:t>Procurement</a:t>
              </a:r>
              <a:r>
                <a:rPr lang="fr-FR" sz="1200" dirty="0">
                  <a:solidFill>
                    <a:srgbClr val="3C3732"/>
                  </a:solidFill>
                  <a:latin typeface="Avenir LT Std 45 Book"/>
                </a:rPr>
                <a:t> </a:t>
              </a:r>
              <a:r>
                <a:rPr lang="fr-FR" sz="1200" dirty="0" err="1">
                  <a:solidFill>
                    <a:srgbClr val="3C3732"/>
                  </a:solidFill>
                  <a:latin typeface="Avenir LT Std 45 Book"/>
                </a:rPr>
                <a:t>orders</a:t>
              </a:r>
              <a:r>
                <a:rPr lang="fr-FR" sz="1200" dirty="0">
                  <a:solidFill>
                    <a:srgbClr val="3C3732"/>
                  </a:solidFill>
                  <a:latin typeface="Avenir LT Std 45 Book"/>
                </a:rPr>
                <a:t/>
              </a:r>
              <a:br>
                <a:rPr lang="fr-FR" sz="1200" dirty="0">
                  <a:solidFill>
                    <a:srgbClr val="3C3732"/>
                  </a:solidFill>
                  <a:latin typeface="Avenir LT Std 45 Book"/>
                </a:rPr>
              </a:br>
              <a:r>
                <a:rPr lang="fr-FR" sz="1200" dirty="0">
                  <a:solidFill>
                    <a:srgbClr val="3C3732"/>
                  </a:solidFill>
                  <a:latin typeface="Avenir LT Std 45 Book"/>
                </a:rPr>
                <a:t>- Workshop </a:t>
              </a:r>
              <a:r>
                <a:rPr lang="fr-FR" sz="1200" dirty="0" err="1">
                  <a:solidFill>
                    <a:srgbClr val="3C3732"/>
                  </a:solidFill>
                  <a:latin typeface="Avenir LT Std 45 Book"/>
                </a:rPr>
                <a:t>orders</a:t>
              </a:r>
              <a:r>
                <a:rPr lang="fr-FR" sz="1200" dirty="0">
                  <a:solidFill>
                    <a:srgbClr val="3C3732"/>
                  </a:solidFill>
                  <a:latin typeface="Avenir LT Std 45 Book"/>
                </a:rPr>
                <a:t/>
              </a:r>
              <a:br>
                <a:rPr lang="fr-FR" sz="1200" dirty="0">
                  <a:solidFill>
                    <a:srgbClr val="3C3732"/>
                  </a:solidFill>
                  <a:latin typeface="Avenir LT Std 45 Book"/>
                </a:rPr>
              </a:br>
              <a:r>
                <a:rPr lang="fr-FR" sz="1200" dirty="0">
                  <a:solidFill>
                    <a:srgbClr val="3C3732"/>
                  </a:solidFill>
                  <a:latin typeface="Avenir LT Std 45 Book"/>
                </a:rPr>
                <a:t>- </a:t>
              </a:r>
              <a:r>
                <a:rPr lang="fr-FR" sz="1200" dirty="0" err="1">
                  <a:solidFill>
                    <a:srgbClr val="3C3732"/>
                  </a:solidFill>
                  <a:latin typeface="Avenir LT Std 45 Book"/>
                </a:rPr>
                <a:t>Demand</a:t>
              </a:r>
              <a:r>
                <a:rPr lang="fr-FR" sz="1200" dirty="0">
                  <a:solidFill>
                    <a:srgbClr val="3C3732"/>
                  </a:solidFill>
                  <a:latin typeface="Avenir LT Std 45 Book"/>
                </a:rPr>
                <a:t/>
              </a:r>
              <a:br>
                <a:rPr lang="fr-FR" sz="1200" dirty="0">
                  <a:solidFill>
                    <a:srgbClr val="3C3732"/>
                  </a:solidFill>
                  <a:latin typeface="Avenir LT Std 45 Book"/>
                </a:rPr>
              </a:br>
              <a:r>
                <a:rPr lang="fr-FR" sz="1200" dirty="0">
                  <a:solidFill>
                    <a:srgbClr val="3C3732"/>
                  </a:solidFill>
                  <a:latin typeface="Avenir LT Std 45 Book"/>
                </a:rPr>
                <a:t>- </a:t>
              </a:r>
              <a:r>
                <a:rPr lang="fr-FR" sz="1200" dirty="0" err="1">
                  <a:solidFill>
                    <a:srgbClr val="3C3732"/>
                  </a:solidFill>
                  <a:latin typeface="Avenir LT Std 45 Book"/>
                </a:rPr>
                <a:t>Shortage</a:t>
              </a:r>
              <a:r>
                <a:rPr lang="fr-FR" sz="1200" dirty="0">
                  <a:solidFill>
                    <a:srgbClr val="3C3732"/>
                  </a:solidFill>
                  <a:latin typeface="Avenir LT Std 45 Book"/>
                </a:rPr>
                <a:t> / client </a:t>
              </a:r>
              <a:r>
                <a:rPr lang="fr-FR" sz="1200" dirty="0" err="1">
                  <a:solidFill>
                    <a:srgbClr val="3C3732"/>
                  </a:solidFill>
                  <a:latin typeface="Avenir LT Std 45 Book"/>
                </a:rPr>
                <a:t>alerts</a:t>
              </a:r>
              <a:endParaRPr lang="fr-FR" sz="1200" dirty="0">
                <a:solidFill>
                  <a:srgbClr val="3C3732"/>
                </a:solidFill>
                <a:latin typeface="Avenir LT Std 45 Book"/>
              </a:endParaRPr>
            </a:p>
            <a:p>
              <a:pPr marL="128588" indent="-128588">
                <a:buFont typeface="Arial" panose="020B0604020202020204" pitchFamily="34" charset="0"/>
                <a:buChar char="•"/>
              </a:pPr>
              <a:endParaRPr lang="fr-FR" sz="1200" dirty="0">
                <a:solidFill>
                  <a:srgbClr val="3C3732"/>
                </a:solidFill>
                <a:latin typeface="Avenir LT Std 45 Book"/>
              </a:endParaRPr>
            </a:p>
            <a:p>
              <a:pPr marL="128588" indent="-128588">
                <a:buFont typeface="Arial" panose="020B0604020202020204" pitchFamily="34" charset="0"/>
                <a:buChar char="•"/>
              </a:pPr>
              <a:r>
                <a:rPr lang="fr-FR" sz="1200" dirty="0">
                  <a:solidFill>
                    <a:srgbClr val="3C3732"/>
                  </a:solidFill>
                  <a:latin typeface="Avenir LT Std 45 Book"/>
                </a:rPr>
                <a:t>Maintenance</a:t>
              </a:r>
            </a:p>
            <a:p>
              <a:r>
                <a:rPr lang="fr-FR" sz="1200" dirty="0">
                  <a:solidFill>
                    <a:srgbClr val="3C3732"/>
                  </a:solidFill>
                  <a:latin typeface="Avenir LT Std 45 Book"/>
                </a:rPr>
                <a:t>   - Replacement ra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2435804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" name="TITRAGE…"/>
          <p:cNvSpPr txBox="1"/>
          <p:nvPr/>
        </p:nvSpPr>
        <p:spPr>
          <a:xfrm>
            <a:off x="-324036" y="346460"/>
            <a:ext cx="3440615" cy="3461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19050" tIns="19050" rIns="19050" bIns="19050" anchor="ctr">
            <a:spAutoFit/>
          </a:bodyPr>
          <a:lstStyle/>
          <a:p>
            <a:pPr algn="r">
              <a:lnSpc>
                <a:spcPct val="80000"/>
              </a:lnSpc>
              <a:defRPr sz="6500">
                <a:solidFill>
                  <a:srgbClr val="01072E"/>
                </a:solidFill>
                <a:latin typeface="Avenir Black"/>
                <a:ea typeface="Avenir Black"/>
                <a:cs typeface="Avenir Black"/>
                <a:sym typeface="Avenir Black"/>
              </a:defRPr>
            </a:pPr>
            <a:r>
              <a:rPr lang="fr-FR" sz="2438" dirty="0"/>
              <a:t>MACHINE LEARNING</a:t>
            </a:r>
            <a:endParaRPr sz="2438" dirty="0"/>
          </a:p>
        </p:txBody>
      </p:sp>
      <p:pic>
        <p:nvPicPr>
          <p:cNvPr id="222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2213" y="786135"/>
            <a:ext cx="2201461" cy="14288"/>
          </a:xfrm>
          <a:prstGeom prst="rect">
            <a:avLst/>
          </a:prstGeom>
          <a:ln w="12700">
            <a:miter lim="400000"/>
          </a:ln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4103B193-FF38-493A-8210-4A69F5C2A887}"/>
              </a:ext>
            </a:extLst>
          </p:cNvPr>
          <p:cNvSpPr/>
          <p:nvPr/>
        </p:nvSpPr>
        <p:spPr>
          <a:xfrm>
            <a:off x="155258" y="1440185"/>
            <a:ext cx="2580322" cy="341371"/>
          </a:xfrm>
          <a:prstGeom prst="rect">
            <a:avLst/>
          </a:prstGeom>
          <a:solidFill>
            <a:srgbClr val="CD0037"/>
          </a:solidFill>
          <a:ln w="25400" cap="flat" cmpd="sng" algn="ctr">
            <a:solidFill>
              <a:srgbClr val="CD0037"/>
            </a:solidFill>
            <a:prstDash val="solid"/>
          </a:ln>
          <a:effectLst/>
        </p:spPr>
        <p:txBody>
          <a:bodyPr rtlCol="0" anchor="ctr"/>
          <a:lstStyle/>
          <a:p>
            <a:pPr defTabSz="342900">
              <a:defRPr/>
            </a:pPr>
            <a:r>
              <a:rPr lang="fr-FR" sz="1200" kern="0" dirty="0" err="1">
                <a:solidFill>
                  <a:prstClr val="white"/>
                </a:solidFill>
                <a:latin typeface="Avenir LT Std 45 Book"/>
              </a:rPr>
              <a:t>Predict</a:t>
            </a:r>
            <a:r>
              <a:rPr lang="fr-FR" sz="1200" kern="0" dirty="0">
                <a:solidFill>
                  <a:prstClr val="white"/>
                </a:solidFill>
                <a:latin typeface="Avenir LT Std 45 Book"/>
              </a:rPr>
              <a:t> </a:t>
            </a:r>
            <a:r>
              <a:rPr lang="fr-FR" sz="1200" kern="0" dirty="0" err="1">
                <a:solidFill>
                  <a:prstClr val="white"/>
                </a:solidFill>
                <a:latin typeface="Avenir LT Std 45 Book"/>
              </a:rPr>
              <a:t>overstock</a:t>
            </a:r>
            <a:r>
              <a:rPr lang="fr-FR" sz="1200" kern="0" dirty="0">
                <a:solidFill>
                  <a:prstClr val="white"/>
                </a:solidFill>
                <a:latin typeface="Avenir LT Std 45 Book"/>
              </a:rPr>
              <a:t> </a:t>
            </a:r>
            <a:r>
              <a:rPr lang="fr-FR" sz="1200" kern="0" dirty="0" err="1">
                <a:solidFill>
                  <a:prstClr val="white"/>
                </a:solidFill>
                <a:latin typeface="Avenir LT Std 45 Book"/>
              </a:rPr>
              <a:t>risks</a:t>
            </a:r>
            <a:endParaRPr lang="fr-FR" sz="1200" kern="0" dirty="0">
              <a:solidFill>
                <a:prstClr val="white"/>
              </a:solidFill>
              <a:latin typeface="Avenir LT Std 45 Book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69965F6-76B8-41AD-BCD2-0342536D5AB3}"/>
              </a:ext>
            </a:extLst>
          </p:cNvPr>
          <p:cNvSpPr/>
          <p:nvPr/>
        </p:nvSpPr>
        <p:spPr>
          <a:xfrm>
            <a:off x="155258" y="1781556"/>
            <a:ext cx="2580322" cy="2828544"/>
          </a:xfrm>
          <a:prstGeom prst="rect">
            <a:avLst/>
          </a:prstGeom>
          <a:noFill/>
          <a:ln w="25400" cap="flat" cmpd="sng" algn="ctr">
            <a:solidFill>
              <a:srgbClr val="CD0037"/>
            </a:solidFill>
            <a:prstDash val="solid"/>
          </a:ln>
          <a:effectLst/>
        </p:spPr>
        <p:txBody>
          <a:bodyPr lIns="91440" tIns="45720" rIns="91440" bIns="45720" rtlCol="0" anchor="t"/>
          <a:lstStyle/>
          <a:p>
            <a:pPr defTabSz="342900">
              <a:defRPr/>
            </a:pPr>
            <a:endParaRPr lang="fr-FR" sz="1200" kern="0" dirty="0">
              <a:solidFill>
                <a:srgbClr val="3C3732"/>
              </a:solidFill>
              <a:latin typeface="Avenir LT Std 45 Book"/>
            </a:endParaRPr>
          </a:p>
          <a:p>
            <a:pPr defTabSz="342900">
              <a:defRPr/>
            </a:pPr>
            <a:r>
              <a:rPr lang="fr-FR" sz="1200" kern="0" dirty="0" err="1">
                <a:solidFill>
                  <a:srgbClr val="3C3732"/>
                </a:solidFill>
                <a:latin typeface="Avenir LT Std 45 Book"/>
              </a:rPr>
              <a:t>Prediction</a:t>
            </a:r>
            <a:r>
              <a:rPr lang="fr-FR" sz="1200" kern="0" dirty="0">
                <a:solidFill>
                  <a:srgbClr val="3C3732"/>
                </a:solidFill>
                <a:latin typeface="Avenir LT Std 45 Book"/>
              </a:rPr>
              <a:t> </a:t>
            </a:r>
            <a:r>
              <a:rPr lang="fr-FR" sz="1200" kern="0" dirty="0" err="1">
                <a:solidFill>
                  <a:srgbClr val="3C3732"/>
                </a:solidFill>
                <a:latin typeface="Avenir LT Std 45 Book"/>
              </a:rPr>
              <a:t>algorithm</a:t>
            </a:r>
            <a:endParaRPr lang="fr-FR" sz="1200" kern="0" dirty="0">
              <a:solidFill>
                <a:srgbClr val="3C3732"/>
              </a:solidFill>
              <a:latin typeface="Avenir LT Std 45 Book"/>
            </a:endParaRPr>
          </a:p>
          <a:p>
            <a:pPr defTabSz="342900">
              <a:defRPr/>
            </a:pPr>
            <a:endParaRPr lang="fr-FR" sz="1200" kern="0" dirty="0">
              <a:solidFill>
                <a:srgbClr val="3C3732"/>
              </a:solidFill>
              <a:latin typeface="Avenir LT Std 45 Book"/>
            </a:endParaRPr>
          </a:p>
          <a:p>
            <a:pPr defTabSz="342900">
              <a:defRPr/>
            </a:pPr>
            <a:r>
              <a:rPr lang="fr-FR" sz="1200" kern="0" dirty="0">
                <a:solidFill>
                  <a:srgbClr val="3C3732"/>
                </a:solidFill>
                <a:latin typeface="Avenir LT Std 45 Book"/>
              </a:rPr>
              <a:t>Stick to the </a:t>
            </a:r>
            <a:r>
              <a:rPr lang="fr-FR" sz="1200" kern="0" dirty="0" err="1">
                <a:solidFill>
                  <a:srgbClr val="3C3732"/>
                </a:solidFill>
                <a:latin typeface="Avenir LT Std 45 Book"/>
              </a:rPr>
              <a:t>current</a:t>
            </a:r>
            <a:r>
              <a:rPr lang="fr-FR" sz="1200" kern="0" dirty="0">
                <a:solidFill>
                  <a:srgbClr val="3C3732"/>
                </a:solidFill>
                <a:latin typeface="Avenir LT Std 45 Book"/>
              </a:rPr>
              <a:t> </a:t>
            </a:r>
            <a:r>
              <a:rPr lang="fr-FR" sz="1200" kern="0" dirty="0" err="1">
                <a:solidFill>
                  <a:srgbClr val="3C3732"/>
                </a:solidFill>
                <a:latin typeface="Avenir LT Std 45 Book"/>
              </a:rPr>
              <a:t>decision</a:t>
            </a:r>
            <a:r>
              <a:rPr lang="fr-FR" sz="1200" kern="0" dirty="0">
                <a:solidFill>
                  <a:srgbClr val="3C3732"/>
                </a:solidFill>
                <a:latin typeface="Avenir LT Std 45 Book"/>
              </a:rPr>
              <a:t> process : </a:t>
            </a:r>
          </a:p>
          <a:p>
            <a:pPr defTabSz="342900">
              <a:defRPr/>
            </a:pPr>
            <a:r>
              <a:rPr lang="fr-FR" sz="1200" kern="0" dirty="0">
                <a:solidFill>
                  <a:srgbClr val="3C3732"/>
                </a:solidFill>
                <a:latin typeface="Avenir LT Std 45 Book"/>
              </a:rPr>
              <a:t>3 </a:t>
            </a:r>
            <a:r>
              <a:rPr lang="fr-FR" sz="1200" kern="0" dirty="0" err="1">
                <a:solidFill>
                  <a:srgbClr val="3C3732"/>
                </a:solidFill>
                <a:latin typeface="Avenir LT Std 45 Book"/>
              </a:rPr>
              <a:t>levels</a:t>
            </a:r>
            <a:endParaRPr lang="fr-FR" sz="1200" kern="0" dirty="0">
              <a:solidFill>
                <a:srgbClr val="3C3732"/>
              </a:solidFill>
              <a:latin typeface="Avenir LT Std 45 Book"/>
            </a:endParaRPr>
          </a:p>
        </p:txBody>
      </p:sp>
      <p:grpSp>
        <p:nvGrpSpPr>
          <p:cNvPr id="23" name="Groupe 22">
            <a:extLst>
              <a:ext uri="{FF2B5EF4-FFF2-40B4-BE49-F238E27FC236}">
                <a16:creationId xmlns:a16="http://schemas.microsoft.com/office/drawing/2014/main" id="{F0754255-F6FA-42FD-9C6B-19BFE075F708}"/>
              </a:ext>
            </a:extLst>
          </p:cNvPr>
          <p:cNvGrpSpPr/>
          <p:nvPr/>
        </p:nvGrpSpPr>
        <p:grpSpPr>
          <a:xfrm>
            <a:off x="345507" y="3441654"/>
            <a:ext cx="2472086" cy="656769"/>
            <a:chOff x="705917" y="2210165"/>
            <a:chExt cx="2460930" cy="769065"/>
          </a:xfrm>
        </p:grpSpPr>
        <p:grpSp>
          <p:nvGrpSpPr>
            <p:cNvPr id="24" name="Groupe 23">
              <a:extLst>
                <a:ext uri="{FF2B5EF4-FFF2-40B4-BE49-F238E27FC236}">
                  <a16:creationId xmlns:a16="http://schemas.microsoft.com/office/drawing/2014/main" id="{6BEE92AB-FB20-4FDB-8DD3-CA1ACD5C7DD5}"/>
                </a:ext>
              </a:extLst>
            </p:cNvPr>
            <p:cNvGrpSpPr/>
            <p:nvPr/>
          </p:nvGrpSpPr>
          <p:grpSpPr>
            <a:xfrm>
              <a:off x="705917" y="2210165"/>
              <a:ext cx="2005792" cy="324361"/>
              <a:chOff x="705917" y="2210165"/>
              <a:chExt cx="2005792" cy="324361"/>
            </a:xfrm>
          </p:grpSpPr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45EF9A78-2E00-4EB3-A088-BAB64079BFB9}"/>
                  </a:ext>
                </a:extLst>
              </p:cNvPr>
              <p:cNvSpPr/>
              <p:nvPr/>
            </p:nvSpPr>
            <p:spPr>
              <a:xfrm>
                <a:off x="705917" y="2300346"/>
                <a:ext cx="141702" cy="144000"/>
              </a:xfrm>
              <a:prstGeom prst="rect">
                <a:avLst/>
              </a:prstGeom>
              <a:solidFill>
                <a:srgbClr val="00B05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defTabSz="342900">
                  <a:defRPr/>
                </a:pPr>
                <a:endParaRPr lang="fr-FR" sz="1200" kern="0">
                  <a:solidFill>
                    <a:prstClr val="white"/>
                  </a:solidFill>
                  <a:latin typeface="Avenir LT Std 45 Book"/>
                </a:endParaRPr>
              </a:p>
            </p:txBody>
          </p:sp>
          <p:sp>
            <p:nvSpPr>
              <p:cNvPr id="32" name="ZoneTexte 31">
                <a:extLst>
                  <a:ext uri="{FF2B5EF4-FFF2-40B4-BE49-F238E27FC236}">
                    <a16:creationId xmlns:a16="http://schemas.microsoft.com/office/drawing/2014/main" id="{4570E58E-16E4-4A17-AE52-EEA48E3369C2}"/>
                  </a:ext>
                </a:extLst>
              </p:cNvPr>
              <p:cNvSpPr txBox="1"/>
              <p:nvPr/>
            </p:nvSpPr>
            <p:spPr>
              <a:xfrm>
                <a:off x="890019" y="2210165"/>
                <a:ext cx="1821690" cy="32436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342900">
                  <a:defRPr/>
                </a:pPr>
                <a:r>
                  <a:rPr lang="fr-FR" sz="1200" kern="0" dirty="0">
                    <a:solidFill>
                      <a:sysClr val="windowText" lastClr="000000"/>
                    </a:solidFill>
                    <a:latin typeface="Avenir LT Std 45 Book"/>
                  </a:rPr>
                  <a:t>Low </a:t>
                </a:r>
                <a:r>
                  <a:rPr lang="fr-FR" sz="1200" kern="0" dirty="0" err="1">
                    <a:solidFill>
                      <a:sysClr val="windowText" lastClr="000000"/>
                    </a:solidFill>
                    <a:latin typeface="Avenir LT Std 45 Book"/>
                  </a:rPr>
                  <a:t>risk</a:t>
                </a:r>
                <a:endParaRPr lang="fr-FR" sz="1200" kern="0" dirty="0">
                  <a:solidFill>
                    <a:sysClr val="windowText" lastClr="000000"/>
                  </a:solidFill>
                  <a:latin typeface="Avenir LT Std 45 Book"/>
                </a:endParaRPr>
              </a:p>
            </p:txBody>
          </p:sp>
        </p:grpSp>
        <p:grpSp>
          <p:nvGrpSpPr>
            <p:cNvPr id="25" name="Groupe 24">
              <a:extLst>
                <a:ext uri="{FF2B5EF4-FFF2-40B4-BE49-F238E27FC236}">
                  <a16:creationId xmlns:a16="http://schemas.microsoft.com/office/drawing/2014/main" id="{E6F1EE51-B60B-4C50-9E84-6DE2B50B5FAD}"/>
                </a:ext>
              </a:extLst>
            </p:cNvPr>
            <p:cNvGrpSpPr/>
            <p:nvPr/>
          </p:nvGrpSpPr>
          <p:grpSpPr>
            <a:xfrm>
              <a:off x="705917" y="2432517"/>
              <a:ext cx="2460930" cy="324361"/>
              <a:chOff x="705917" y="2432517"/>
              <a:chExt cx="2460930" cy="324361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0FBD24A3-5896-43DD-B400-26BE2FE16F6A}"/>
                  </a:ext>
                </a:extLst>
              </p:cNvPr>
              <p:cNvSpPr/>
              <p:nvPr/>
            </p:nvSpPr>
            <p:spPr>
              <a:xfrm>
                <a:off x="705917" y="2522698"/>
                <a:ext cx="141702" cy="144000"/>
              </a:xfrm>
              <a:prstGeom prst="rect">
                <a:avLst/>
              </a:prstGeom>
              <a:solidFill>
                <a:srgbClr val="FFA5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defTabSz="342900">
                  <a:defRPr/>
                </a:pPr>
                <a:endParaRPr lang="fr-FR" sz="1200" kern="0">
                  <a:solidFill>
                    <a:prstClr val="white"/>
                  </a:solidFill>
                  <a:latin typeface="Avenir LT Std 45 Book"/>
                </a:endParaRPr>
              </a:p>
            </p:txBody>
          </p:sp>
          <p:sp>
            <p:nvSpPr>
              <p:cNvPr id="30" name="ZoneTexte 29">
                <a:extLst>
                  <a:ext uri="{FF2B5EF4-FFF2-40B4-BE49-F238E27FC236}">
                    <a16:creationId xmlns:a16="http://schemas.microsoft.com/office/drawing/2014/main" id="{C178ADF6-E15F-45C5-9F82-EB107CD64383}"/>
                  </a:ext>
                </a:extLst>
              </p:cNvPr>
              <p:cNvSpPr txBox="1"/>
              <p:nvPr/>
            </p:nvSpPr>
            <p:spPr>
              <a:xfrm>
                <a:off x="890019" y="2432517"/>
                <a:ext cx="2276828" cy="32436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342900">
                  <a:defRPr/>
                </a:pPr>
                <a:r>
                  <a:rPr lang="fr-FR" sz="1200" kern="0" dirty="0" err="1">
                    <a:solidFill>
                      <a:sysClr val="windowText" lastClr="000000"/>
                    </a:solidFill>
                    <a:latin typeface="Avenir LT Std 45 Book"/>
                  </a:rPr>
                  <a:t>Moderate</a:t>
                </a:r>
                <a:endParaRPr lang="fr-FR" sz="1200" kern="0" dirty="0">
                  <a:solidFill>
                    <a:sysClr val="windowText" lastClr="000000"/>
                  </a:solidFill>
                  <a:latin typeface="Avenir LT Std 45 Book"/>
                </a:endParaRPr>
              </a:p>
            </p:txBody>
          </p:sp>
        </p:grpSp>
        <p:grpSp>
          <p:nvGrpSpPr>
            <p:cNvPr id="26" name="Groupe 25">
              <a:extLst>
                <a:ext uri="{FF2B5EF4-FFF2-40B4-BE49-F238E27FC236}">
                  <a16:creationId xmlns:a16="http://schemas.microsoft.com/office/drawing/2014/main" id="{5DF3EC3C-2783-46E5-9AB0-44C2B7D837C1}"/>
                </a:ext>
              </a:extLst>
            </p:cNvPr>
            <p:cNvGrpSpPr/>
            <p:nvPr/>
          </p:nvGrpSpPr>
          <p:grpSpPr>
            <a:xfrm>
              <a:off x="705917" y="2654869"/>
              <a:ext cx="2005792" cy="324361"/>
              <a:chOff x="705917" y="2654869"/>
              <a:chExt cx="2005792" cy="324361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1C19D8C4-B168-4941-9F56-47854A4D5FE7}"/>
                  </a:ext>
                </a:extLst>
              </p:cNvPr>
              <p:cNvSpPr/>
              <p:nvPr/>
            </p:nvSpPr>
            <p:spPr>
              <a:xfrm>
                <a:off x="705917" y="2745050"/>
                <a:ext cx="141702" cy="144001"/>
              </a:xfrm>
              <a:prstGeom prst="rect">
                <a:avLst/>
              </a:prstGeom>
              <a:solidFill>
                <a:srgbClr val="FF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defTabSz="342900">
                  <a:defRPr/>
                </a:pPr>
                <a:endParaRPr lang="fr-FR" sz="1200" kern="0">
                  <a:solidFill>
                    <a:prstClr val="white"/>
                  </a:solidFill>
                  <a:latin typeface="Avenir LT Std 45 Book"/>
                </a:endParaRPr>
              </a:p>
            </p:txBody>
          </p:sp>
          <p:sp>
            <p:nvSpPr>
              <p:cNvPr id="28" name="ZoneTexte 27">
                <a:extLst>
                  <a:ext uri="{FF2B5EF4-FFF2-40B4-BE49-F238E27FC236}">
                    <a16:creationId xmlns:a16="http://schemas.microsoft.com/office/drawing/2014/main" id="{93CFEF31-FAB4-4A76-9AC3-73E0B4E9E16E}"/>
                  </a:ext>
                </a:extLst>
              </p:cNvPr>
              <p:cNvSpPr txBox="1"/>
              <p:nvPr/>
            </p:nvSpPr>
            <p:spPr>
              <a:xfrm>
                <a:off x="890019" y="2654869"/>
                <a:ext cx="1821690" cy="32436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342900">
                  <a:defRPr/>
                </a:pPr>
                <a:r>
                  <a:rPr lang="fr-FR" sz="1200" kern="0" dirty="0">
                    <a:solidFill>
                      <a:sysClr val="windowText" lastClr="000000"/>
                    </a:solidFill>
                    <a:latin typeface="Avenir LT Std 45 Book"/>
                  </a:rPr>
                  <a:t>Critical</a:t>
                </a:r>
              </a:p>
            </p:txBody>
          </p:sp>
        </p:grpSp>
      </p:grpSp>
      <p:grpSp>
        <p:nvGrpSpPr>
          <p:cNvPr id="33" name="Groupe 32">
            <a:extLst>
              <a:ext uri="{FF2B5EF4-FFF2-40B4-BE49-F238E27FC236}">
                <a16:creationId xmlns:a16="http://schemas.microsoft.com/office/drawing/2014/main" id="{E00E0582-40ED-4C8C-9C07-0E86ED599559}"/>
              </a:ext>
            </a:extLst>
          </p:cNvPr>
          <p:cNvGrpSpPr/>
          <p:nvPr/>
        </p:nvGrpSpPr>
        <p:grpSpPr>
          <a:xfrm>
            <a:off x="3281838" y="1440185"/>
            <a:ext cx="2580322" cy="3169915"/>
            <a:chOff x="3212691" y="1251573"/>
            <a:chExt cx="2568677" cy="3711918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D4FFA83-BF91-4C4A-9274-87B8C8EBD53B}"/>
                </a:ext>
              </a:extLst>
            </p:cNvPr>
            <p:cNvSpPr/>
            <p:nvPr/>
          </p:nvSpPr>
          <p:spPr>
            <a:xfrm>
              <a:off x="3212691" y="1251573"/>
              <a:ext cx="2568677" cy="399740"/>
            </a:xfrm>
            <a:prstGeom prst="rect">
              <a:avLst/>
            </a:prstGeom>
            <a:solidFill>
              <a:srgbClr val="00B050"/>
            </a:solidFill>
            <a:ln w="25400" cap="flat" cmpd="sng" algn="ctr">
              <a:solidFill>
                <a:srgbClr val="00B050"/>
              </a:solidFill>
              <a:prstDash val="solid"/>
            </a:ln>
            <a:effectLst/>
          </p:spPr>
          <p:txBody>
            <a:bodyPr rtlCol="0" anchor="ctr"/>
            <a:lstStyle/>
            <a:p>
              <a:pPr defTabSz="342900">
                <a:defRPr/>
              </a:pPr>
              <a:r>
                <a:rPr lang="fr-FR" sz="1200" kern="0" dirty="0" err="1">
                  <a:solidFill>
                    <a:prstClr val="white"/>
                  </a:solidFill>
                  <a:latin typeface="Avenir LT Std 45 Book"/>
                </a:rPr>
                <a:t>Define</a:t>
              </a:r>
              <a:r>
                <a:rPr lang="fr-FR" sz="1200" kern="0" dirty="0">
                  <a:solidFill>
                    <a:prstClr val="white"/>
                  </a:solidFill>
                  <a:latin typeface="Avenir LT Std 45 Book"/>
                </a:rPr>
                <a:t> performance </a:t>
              </a:r>
              <a:r>
                <a:rPr lang="fr-FR" sz="1200" kern="0" dirty="0" err="1">
                  <a:solidFill>
                    <a:prstClr val="white"/>
                  </a:solidFill>
                  <a:latin typeface="Avenir LT Std 45 Book"/>
                </a:rPr>
                <a:t>criteria</a:t>
              </a:r>
              <a:endParaRPr lang="fr-FR" sz="1200" kern="0" dirty="0">
                <a:solidFill>
                  <a:prstClr val="white"/>
                </a:solidFill>
                <a:latin typeface="Avenir LT Std 45 Book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B4F5AF9A-DDC8-463C-914B-7BE14C272CCB}"/>
                </a:ext>
              </a:extLst>
            </p:cNvPr>
            <p:cNvSpPr/>
            <p:nvPr/>
          </p:nvSpPr>
          <p:spPr>
            <a:xfrm>
              <a:off x="3212691" y="1651313"/>
              <a:ext cx="2568677" cy="3312178"/>
            </a:xfrm>
            <a:prstGeom prst="rect">
              <a:avLst/>
            </a:prstGeom>
            <a:noFill/>
            <a:ln w="25400" cap="flat" cmpd="sng" algn="ctr">
              <a:solidFill>
                <a:srgbClr val="00B050"/>
              </a:solidFill>
              <a:prstDash val="solid"/>
            </a:ln>
            <a:effectLst/>
          </p:spPr>
          <p:txBody>
            <a:bodyPr rtlCol="0" anchor="t"/>
            <a:lstStyle/>
            <a:p>
              <a:pPr defTabSz="342900">
                <a:defRPr/>
              </a:pPr>
              <a:endParaRPr lang="fr-FR" sz="1200" kern="0" dirty="0">
                <a:solidFill>
                  <a:srgbClr val="3C3732"/>
                </a:solidFill>
                <a:latin typeface="Avenir LT Std 45 Book"/>
              </a:endParaRPr>
            </a:p>
            <a:p>
              <a:pPr defTabSz="342900">
                <a:defRPr/>
              </a:pPr>
              <a:r>
                <a:rPr lang="fr-FR" sz="1200" kern="0" dirty="0">
                  <a:solidFill>
                    <a:srgbClr val="3C3732"/>
                  </a:solidFill>
                  <a:latin typeface="Avenir LT Std 45 Book"/>
                </a:rPr>
                <a:t>Tune algorithme </a:t>
              </a:r>
              <a:r>
                <a:rPr lang="fr-FR" sz="1200" kern="0" dirty="0" err="1">
                  <a:solidFill>
                    <a:srgbClr val="3C3732"/>
                  </a:solidFill>
                  <a:latin typeface="Avenir LT Std 45 Book"/>
                </a:rPr>
                <a:t>sensitivity</a:t>
              </a:r>
              <a:endParaRPr lang="fr-FR" sz="1200" kern="0" dirty="0">
                <a:solidFill>
                  <a:srgbClr val="3C3732"/>
                </a:solidFill>
                <a:latin typeface="Avenir LT Std 45 Book"/>
              </a:endParaRPr>
            </a:p>
            <a:p>
              <a:pPr defTabSz="342900">
                <a:defRPr/>
              </a:pPr>
              <a:endParaRPr lang="fr-FR" sz="1200" kern="0" dirty="0">
                <a:solidFill>
                  <a:srgbClr val="3C3732"/>
                </a:solidFill>
                <a:latin typeface="Avenir LT Std 45 Book"/>
              </a:endParaRPr>
            </a:p>
            <a:p>
              <a:pPr defTabSz="342900">
                <a:defRPr/>
              </a:pPr>
              <a:r>
                <a:rPr lang="fr-FR" sz="1200" kern="0" dirty="0" err="1">
                  <a:solidFill>
                    <a:srgbClr val="3C3732"/>
                  </a:solidFill>
                  <a:latin typeface="Avenir LT Std 45 Book"/>
                </a:rPr>
                <a:t>Too</a:t>
              </a:r>
              <a:r>
                <a:rPr lang="fr-FR" sz="1200" kern="0" dirty="0">
                  <a:solidFill>
                    <a:srgbClr val="3C3732"/>
                  </a:solidFill>
                  <a:latin typeface="Avenir LT Std 45 Book"/>
                </a:rPr>
                <a:t> sensitive: </a:t>
              </a:r>
              <a:r>
                <a:rPr lang="fr-FR" sz="1200" kern="0" dirty="0" err="1">
                  <a:solidFill>
                    <a:srgbClr val="3C3732"/>
                  </a:solidFill>
                  <a:latin typeface="Avenir LT Std 45 Book"/>
                </a:rPr>
                <a:t>too</a:t>
              </a:r>
              <a:r>
                <a:rPr lang="fr-FR" sz="1200" kern="0" dirty="0">
                  <a:solidFill>
                    <a:srgbClr val="3C3732"/>
                  </a:solidFill>
                  <a:latin typeface="Avenir LT Std 45 Book"/>
                </a:rPr>
                <a:t> </a:t>
              </a:r>
              <a:r>
                <a:rPr lang="fr-FR" sz="1200" kern="0" dirty="0" err="1">
                  <a:solidFill>
                    <a:srgbClr val="3C3732"/>
                  </a:solidFill>
                  <a:latin typeface="Avenir LT Std 45 Book"/>
                </a:rPr>
                <a:t>many</a:t>
              </a:r>
              <a:r>
                <a:rPr lang="fr-FR" sz="1200" kern="0" dirty="0">
                  <a:solidFill>
                    <a:srgbClr val="3C3732"/>
                  </a:solidFill>
                  <a:latin typeface="Avenir LT Std 45 Book"/>
                </a:rPr>
                <a:t> </a:t>
              </a:r>
              <a:r>
                <a:rPr lang="fr-FR" sz="1200" kern="0" dirty="0" err="1">
                  <a:solidFill>
                    <a:srgbClr val="3C3732"/>
                  </a:solidFill>
                  <a:latin typeface="Avenir LT Std 45 Book"/>
                </a:rPr>
                <a:t>alerts</a:t>
              </a:r>
              <a:endParaRPr lang="fr-FR" sz="1200" kern="0" dirty="0">
                <a:solidFill>
                  <a:srgbClr val="3C3732"/>
                </a:solidFill>
                <a:latin typeface="Avenir LT Std 45 Book"/>
              </a:endParaRPr>
            </a:p>
            <a:p>
              <a:pPr defTabSz="342900">
                <a:defRPr/>
              </a:pPr>
              <a:endParaRPr lang="fr-FR" sz="1200" kern="0" dirty="0">
                <a:solidFill>
                  <a:srgbClr val="3C3732"/>
                </a:solidFill>
                <a:latin typeface="Avenir LT Std 45 Book"/>
              </a:endParaRPr>
            </a:p>
            <a:p>
              <a:pPr defTabSz="342900">
                <a:defRPr/>
              </a:pPr>
              <a:r>
                <a:rPr lang="fr-FR" sz="1200" kern="0" dirty="0">
                  <a:solidFill>
                    <a:srgbClr val="3C3732"/>
                  </a:solidFill>
                  <a:latin typeface="Avenir LT Std 45 Book"/>
                </a:rPr>
                <a:t>Not </a:t>
              </a:r>
              <a:r>
                <a:rPr lang="fr-FR" sz="1200" kern="0" dirty="0" err="1">
                  <a:solidFill>
                    <a:srgbClr val="3C3732"/>
                  </a:solidFill>
                  <a:latin typeface="Avenir LT Std 45 Book"/>
                </a:rPr>
                <a:t>enough</a:t>
              </a:r>
              <a:r>
                <a:rPr lang="fr-FR" sz="1200" kern="0" dirty="0">
                  <a:solidFill>
                    <a:srgbClr val="3C3732"/>
                  </a:solidFill>
                  <a:latin typeface="Avenir LT Std 45 Book"/>
                </a:rPr>
                <a:t>: </a:t>
              </a:r>
              <a:r>
                <a:rPr lang="fr-FR" sz="1200" kern="0" dirty="0" err="1">
                  <a:solidFill>
                    <a:srgbClr val="3C3732"/>
                  </a:solidFill>
                  <a:latin typeface="Avenir LT Std 45 Book"/>
                </a:rPr>
                <a:t>overlook</a:t>
              </a:r>
              <a:r>
                <a:rPr lang="fr-FR" sz="1200" kern="0" dirty="0">
                  <a:solidFill>
                    <a:srgbClr val="3C3732"/>
                  </a:solidFill>
                  <a:latin typeface="Avenir LT Std 45 Book"/>
                </a:rPr>
                <a:t> </a:t>
              </a:r>
              <a:r>
                <a:rPr lang="fr-FR" sz="1200" kern="0" dirty="0" err="1">
                  <a:solidFill>
                    <a:srgbClr val="3C3732"/>
                  </a:solidFill>
                  <a:latin typeface="Avenir LT Std 45 Book"/>
                </a:rPr>
                <a:t>problems</a:t>
              </a:r>
              <a:endParaRPr lang="fr-FR" sz="1200" kern="0" dirty="0">
                <a:solidFill>
                  <a:srgbClr val="3C3732"/>
                </a:solidFill>
                <a:latin typeface="Avenir LT Std 45 Book"/>
              </a:endParaRPr>
            </a:p>
          </p:txBody>
        </p:sp>
      </p:grpSp>
      <p:grpSp>
        <p:nvGrpSpPr>
          <p:cNvPr id="36" name="Groupe 35">
            <a:extLst>
              <a:ext uri="{FF2B5EF4-FFF2-40B4-BE49-F238E27FC236}">
                <a16:creationId xmlns:a16="http://schemas.microsoft.com/office/drawing/2014/main" id="{B9D249E4-D5F3-4025-9CC6-8FCE3B2F4077}"/>
              </a:ext>
            </a:extLst>
          </p:cNvPr>
          <p:cNvGrpSpPr/>
          <p:nvPr/>
        </p:nvGrpSpPr>
        <p:grpSpPr>
          <a:xfrm>
            <a:off x="6408419" y="1440185"/>
            <a:ext cx="2580323" cy="3169915"/>
            <a:chOff x="6152537" y="1251573"/>
            <a:chExt cx="2568678" cy="3711918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2297BCDD-1116-4636-86DF-CC6EB16C8FBC}"/>
                </a:ext>
              </a:extLst>
            </p:cNvPr>
            <p:cNvSpPr/>
            <p:nvPr/>
          </p:nvSpPr>
          <p:spPr>
            <a:xfrm>
              <a:off x="6152538" y="1251573"/>
              <a:ext cx="2568677" cy="399740"/>
            </a:xfrm>
            <a:prstGeom prst="rect">
              <a:avLst/>
            </a:prstGeom>
            <a:solidFill>
              <a:srgbClr val="0070C0"/>
            </a:solidFill>
            <a:ln w="25400" cap="flat" cmpd="sng" algn="ctr">
              <a:solidFill>
                <a:srgbClr val="0070C0"/>
              </a:solidFill>
              <a:prstDash val="solid"/>
            </a:ln>
            <a:effectLst/>
          </p:spPr>
          <p:txBody>
            <a:bodyPr rtlCol="0" anchor="ctr"/>
            <a:lstStyle/>
            <a:p>
              <a:pPr defTabSz="342900">
                <a:defRPr/>
              </a:pPr>
              <a:r>
                <a:rPr lang="fr-FR" sz="1200" kern="0" dirty="0" err="1">
                  <a:solidFill>
                    <a:prstClr val="white"/>
                  </a:solidFill>
                  <a:latin typeface="Avenir LT Std 45 Book"/>
                </a:rPr>
                <a:t>Explain</a:t>
              </a:r>
              <a:r>
                <a:rPr lang="fr-FR" sz="1200" kern="0" dirty="0">
                  <a:solidFill>
                    <a:prstClr val="white"/>
                  </a:solidFill>
                  <a:latin typeface="Avenir LT Std 45 Book"/>
                </a:rPr>
                <a:t> </a:t>
              </a:r>
              <a:r>
                <a:rPr lang="fr-FR" sz="1200" kern="0" dirty="0" err="1">
                  <a:solidFill>
                    <a:prstClr val="white"/>
                  </a:solidFill>
                  <a:latin typeface="Avenir LT Std 45 Book"/>
                </a:rPr>
                <a:t>predictions</a:t>
              </a:r>
              <a:endParaRPr lang="fr-FR" sz="1200" kern="0" dirty="0">
                <a:solidFill>
                  <a:prstClr val="white"/>
                </a:solidFill>
                <a:latin typeface="Avenir LT Std 45 Book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23517F9E-98D7-472A-973E-588755DAF190}"/>
                </a:ext>
              </a:extLst>
            </p:cNvPr>
            <p:cNvSpPr/>
            <p:nvPr/>
          </p:nvSpPr>
          <p:spPr>
            <a:xfrm>
              <a:off x="6152537" y="1651313"/>
              <a:ext cx="2568677" cy="3312178"/>
            </a:xfrm>
            <a:prstGeom prst="rect">
              <a:avLst/>
            </a:prstGeom>
            <a:noFill/>
            <a:ln w="25400" cap="flat" cmpd="sng" algn="ctr">
              <a:solidFill>
                <a:srgbClr val="0070C0"/>
              </a:solidFill>
              <a:prstDash val="solid"/>
            </a:ln>
            <a:effectLst/>
          </p:spPr>
          <p:txBody>
            <a:bodyPr rtlCol="0" anchor="t"/>
            <a:lstStyle/>
            <a:p>
              <a:pPr defTabSz="342900">
                <a:defRPr/>
              </a:pPr>
              <a:endParaRPr lang="fr-FR" sz="1200" kern="0" dirty="0">
                <a:solidFill>
                  <a:srgbClr val="3C3732"/>
                </a:solidFill>
                <a:latin typeface="Avenir LT Std 45 Book"/>
              </a:endParaRPr>
            </a:p>
            <a:p>
              <a:pPr defTabSz="342900">
                <a:defRPr/>
              </a:pPr>
              <a:r>
                <a:rPr lang="fr-FR" sz="1200" kern="0" dirty="0" err="1">
                  <a:solidFill>
                    <a:srgbClr val="3C3732"/>
                  </a:solidFill>
                  <a:latin typeface="Avenir LT Std 45 Book"/>
                </a:rPr>
                <a:t>Explain</a:t>
              </a:r>
              <a:r>
                <a:rPr lang="fr-FR" sz="1200" kern="0" dirty="0">
                  <a:solidFill>
                    <a:srgbClr val="3C3732"/>
                  </a:solidFill>
                  <a:latin typeface="Avenir LT Std 45 Book"/>
                </a:rPr>
                <a:t> the </a:t>
              </a:r>
              <a:r>
                <a:rPr lang="fr-FR" sz="1200" kern="0" dirty="0" err="1">
                  <a:solidFill>
                    <a:srgbClr val="3C3732"/>
                  </a:solidFill>
                  <a:latin typeface="Avenir LT Std 45 Book"/>
                </a:rPr>
                <a:t>reasons</a:t>
              </a:r>
              <a:r>
                <a:rPr lang="fr-FR" sz="1200" kern="0" dirty="0">
                  <a:solidFill>
                    <a:srgbClr val="3C3732"/>
                  </a:solidFill>
                  <a:latin typeface="Avenir LT Std 45 Book"/>
                </a:rPr>
                <a:t> for a </a:t>
              </a:r>
              <a:r>
                <a:rPr lang="fr-FR" sz="1200" kern="0" dirty="0" err="1">
                  <a:solidFill>
                    <a:srgbClr val="3C3732"/>
                  </a:solidFill>
                  <a:latin typeface="Avenir LT Std 45 Book"/>
                </a:rPr>
                <a:t>prediction</a:t>
              </a:r>
              <a:endParaRPr lang="fr-FR" sz="1200" kern="0" dirty="0">
                <a:solidFill>
                  <a:srgbClr val="3C3732"/>
                </a:solidFill>
                <a:latin typeface="Avenir LT Std 45 Book"/>
              </a:endParaRPr>
            </a:p>
            <a:p>
              <a:pPr defTabSz="342900">
                <a:defRPr/>
              </a:pPr>
              <a:endParaRPr lang="fr-FR" sz="1200" kern="0" dirty="0">
                <a:solidFill>
                  <a:srgbClr val="3C3732"/>
                </a:solidFill>
                <a:latin typeface="Avenir LT Std 45 Book"/>
              </a:endParaRPr>
            </a:p>
            <a:p>
              <a:pPr defTabSz="342900">
                <a:defRPr/>
              </a:pPr>
              <a:r>
                <a:rPr lang="fr-FR" sz="1200" kern="0" dirty="0">
                  <a:solidFill>
                    <a:srgbClr val="3C3732"/>
                  </a:solidFill>
                  <a:latin typeface="Avenir LT Std 45 Book"/>
                </a:rPr>
                <a:t>For </a:t>
              </a:r>
              <a:r>
                <a:rPr lang="fr-FR" sz="1200" kern="0" dirty="0" err="1">
                  <a:solidFill>
                    <a:srgbClr val="3C3732"/>
                  </a:solidFill>
                  <a:latin typeface="Avenir LT Std 45 Book"/>
                </a:rPr>
                <a:t>decision</a:t>
              </a:r>
              <a:r>
                <a:rPr lang="fr-FR" sz="1200" kern="0" dirty="0">
                  <a:solidFill>
                    <a:srgbClr val="3C3732"/>
                  </a:solidFill>
                  <a:latin typeface="Avenir LT Std 45 Book"/>
                </a:rPr>
                <a:t> </a:t>
              </a:r>
              <a:r>
                <a:rPr lang="fr-FR" sz="1200" kern="0" dirty="0" err="1">
                  <a:solidFill>
                    <a:srgbClr val="3C3732"/>
                  </a:solidFill>
                  <a:latin typeface="Avenir LT Std 45 Book"/>
                </a:rPr>
                <a:t>making</a:t>
              </a:r>
              <a:r>
                <a:rPr lang="fr-FR" sz="1200" kern="0" dirty="0">
                  <a:solidFill>
                    <a:srgbClr val="3C3732"/>
                  </a:solidFill>
                  <a:latin typeface="Avenir LT Std 45 Book"/>
                </a:rPr>
                <a:t>:</a:t>
              </a:r>
            </a:p>
            <a:p>
              <a:pPr marL="171452" indent="-171452" defTabSz="342900">
                <a:buFont typeface="Arial" panose="020B0604020202020204" pitchFamily="34" charset="0"/>
                <a:buChar char="•"/>
                <a:defRPr/>
              </a:pPr>
              <a:endParaRPr lang="fr-FR" sz="1200" kern="0" dirty="0">
                <a:solidFill>
                  <a:srgbClr val="3C3732"/>
                </a:solidFill>
                <a:latin typeface="Avenir LT Std 45 Book"/>
              </a:endParaRPr>
            </a:p>
            <a:p>
              <a:pPr marL="171452" indent="-171452" defTabSz="342900">
                <a:buFont typeface="Arial" panose="020B0604020202020204" pitchFamily="34" charset="0"/>
                <a:buChar char="•"/>
                <a:defRPr/>
              </a:pPr>
              <a:r>
                <a:rPr lang="fr-FR" sz="1200" kern="0" dirty="0" err="1">
                  <a:solidFill>
                    <a:srgbClr val="3C3732"/>
                  </a:solidFill>
                  <a:latin typeface="Avenir LT Std 45 Book"/>
                </a:rPr>
                <a:t>Allow</a:t>
              </a:r>
              <a:r>
                <a:rPr lang="fr-FR" sz="1200" kern="0" dirty="0">
                  <a:solidFill>
                    <a:srgbClr val="3C3732"/>
                  </a:solidFill>
                  <a:latin typeface="Avenir LT Std 45 Book"/>
                </a:rPr>
                <a:t> </a:t>
              </a:r>
              <a:r>
                <a:rPr lang="fr-FR" sz="1200" kern="0" dirty="0" err="1">
                  <a:solidFill>
                    <a:srgbClr val="3C3732"/>
                  </a:solidFill>
                  <a:latin typeface="Avenir LT Std 45 Book"/>
                </a:rPr>
                <a:t>critical</a:t>
              </a:r>
              <a:r>
                <a:rPr lang="fr-FR" sz="1200" kern="0" dirty="0">
                  <a:solidFill>
                    <a:srgbClr val="3C3732"/>
                  </a:solidFill>
                  <a:latin typeface="Avenir LT Std 45 Book"/>
                </a:rPr>
                <a:t> look</a:t>
              </a:r>
            </a:p>
            <a:p>
              <a:pPr marL="171452" indent="-171452" defTabSz="342900">
                <a:buFont typeface="Arial" panose="020B0604020202020204" pitchFamily="34" charset="0"/>
                <a:buChar char="•"/>
                <a:defRPr/>
              </a:pPr>
              <a:r>
                <a:rPr lang="fr-FR" sz="1200" kern="0" dirty="0" err="1">
                  <a:solidFill>
                    <a:srgbClr val="3C3732"/>
                  </a:solidFill>
                  <a:latin typeface="Avenir LT Std 45 Book"/>
                </a:rPr>
                <a:t>Give</a:t>
              </a:r>
              <a:r>
                <a:rPr lang="fr-FR" sz="1200" kern="0" dirty="0">
                  <a:solidFill>
                    <a:srgbClr val="3C3732"/>
                  </a:solidFill>
                  <a:latin typeface="Avenir LT Std 45 Book"/>
                </a:rPr>
                <a:t> </a:t>
              </a:r>
              <a:r>
                <a:rPr lang="fr-FR" sz="1200" kern="0" dirty="0" err="1">
                  <a:solidFill>
                    <a:srgbClr val="3C3732"/>
                  </a:solidFill>
                  <a:latin typeface="Avenir LT Std 45 Book"/>
                </a:rPr>
                <a:t>hints</a:t>
              </a:r>
              <a:r>
                <a:rPr lang="fr-FR" sz="1200" kern="0" dirty="0">
                  <a:solidFill>
                    <a:srgbClr val="3C3732"/>
                  </a:solidFill>
                  <a:latin typeface="Avenir LT Std 45 Book"/>
                </a:rPr>
                <a:t> for investiga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4454930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3" name="Grouper"/>
          <p:cNvGrpSpPr/>
          <p:nvPr/>
        </p:nvGrpSpPr>
        <p:grpSpPr>
          <a:xfrm>
            <a:off x="3230757" y="-9525"/>
            <a:ext cx="5933631" cy="4428888"/>
            <a:chOff x="-1" y="15206"/>
            <a:chExt cx="15823014" cy="11810367"/>
          </a:xfrm>
        </p:grpSpPr>
        <p:sp>
          <p:nvSpPr>
            <p:cNvPr id="171" name="Ligne"/>
            <p:cNvSpPr/>
            <p:nvPr/>
          </p:nvSpPr>
          <p:spPr>
            <a:xfrm flipV="1">
              <a:off x="-1" y="15206"/>
              <a:ext cx="15823014" cy="11810367"/>
            </a:xfrm>
            <a:prstGeom prst="line">
              <a:avLst/>
            </a:prstGeom>
            <a:noFill/>
            <a:ln w="25400" cap="flat">
              <a:solidFill>
                <a:srgbClr val="FFFFFF"/>
              </a:solidFill>
              <a:prstDash val="solid"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endParaRPr sz="506"/>
            </a:p>
          </p:txBody>
        </p:sp>
        <p:sp>
          <p:nvSpPr>
            <p:cNvPr id="172" name="Ligne"/>
            <p:cNvSpPr/>
            <p:nvPr/>
          </p:nvSpPr>
          <p:spPr>
            <a:xfrm>
              <a:off x="131421" y="142206"/>
              <a:ext cx="15560169" cy="11546235"/>
            </a:xfrm>
            <a:prstGeom prst="line">
              <a:avLst/>
            </a:prstGeom>
            <a:noFill/>
            <a:ln w="25400" cap="flat">
              <a:solidFill>
                <a:srgbClr val="FFFFFF"/>
              </a:solidFill>
              <a:prstDash val="solid"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endParaRPr sz="506"/>
            </a:p>
          </p:txBody>
        </p:sp>
      </p:grpSp>
      <p:sp>
        <p:nvSpPr>
          <p:cNvPr id="174" name="TITRAGE…"/>
          <p:cNvSpPr txBox="1"/>
          <p:nvPr/>
        </p:nvSpPr>
        <p:spPr>
          <a:xfrm>
            <a:off x="162328" y="157364"/>
            <a:ext cx="3002721" cy="3461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19050" tIns="19050" rIns="19050" bIns="19050" anchor="ctr">
            <a:spAutoFit/>
          </a:bodyPr>
          <a:lstStyle/>
          <a:p>
            <a:pPr algn="r">
              <a:lnSpc>
                <a:spcPct val="80000"/>
              </a:lnSpc>
              <a:defRPr sz="6500">
                <a:solidFill>
                  <a:srgbClr val="01072E"/>
                </a:solidFill>
                <a:latin typeface="Avenir Black"/>
                <a:ea typeface="Avenir Black"/>
                <a:cs typeface="Avenir Black"/>
                <a:sym typeface="Avenir Black"/>
              </a:defRPr>
            </a:pPr>
            <a:r>
              <a:rPr lang="en-US" sz="2438" dirty="0"/>
              <a:t>Dependence analysis</a:t>
            </a:r>
          </a:p>
        </p:txBody>
      </p:sp>
      <p:sp>
        <p:nvSpPr>
          <p:cNvPr id="176" name="At vero eos et accusamus et iusto odio dignissimos ducimus qui blanditiis praesentium voluptatum deleniti atque corrupti quos dolores et quas molestias excepturi sint occaecati cupiditate"/>
          <p:cNvSpPr txBox="1"/>
          <p:nvPr/>
        </p:nvSpPr>
        <p:spPr>
          <a:xfrm>
            <a:off x="4010859" y="876735"/>
            <a:ext cx="2438996" cy="2000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19050" tIns="19050" rIns="19050" bIns="19050" anchor="ctr">
            <a:spAutoFit/>
          </a:bodyPr>
          <a:lstStyle/>
          <a:p>
            <a:pPr algn="l"/>
            <a:r>
              <a:rPr lang="fr-FR" sz="1050" dirty="0">
                <a:latin typeface="Calibri" panose="020F0502020204030204" pitchFamily="34" charset="0"/>
                <a:cs typeface="Calibri" panose="020F0502020204030204" pitchFamily="34" charset="0"/>
              </a:rPr>
              <a:t>Item </a:t>
            </a:r>
            <a:r>
              <a:rPr lang="fr-FR" sz="1050" dirty="0" err="1">
                <a:latin typeface="Calibri" panose="020F0502020204030204" pitchFamily="34" charset="0"/>
                <a:cs typeface="Calibri" panose="020F0502020204030204" pitchFamily="34" charset="0"/>
              </a:rPr>
              <a:t>families</a:t>
            </a:r>
            <a:endParaRPr sz="938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BF8AFAC-FCD6-AE44-9602-53C2033586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0039" y="1204461"/>
            <a:ext cx="8417246" cy="142991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E22E178-DD31-9A4D-A7DE-3D1506323F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6280" y="3007625"/>
            <a:ext cx="8520113" cy="1590675"/>
          </a:xfrm>
          <a:prstGeom prst="rect">
            <a:avLst/>
          </a:prstGeom>
        </p:spPr>
      </p:pic>
      <p:sp>
        <p:nvSpPr>
          <p:cNvPr id="13" name="At vero eos et accusamus et iusto odio dignissimos ducimus qui blanditiis praesentium voluptatum deleniti atque corrupti quos dolores et quas molestias excepturi sint occaecati cupiditate">
            <a:extLst>
              <a:ext uri="{FF2B5EF4-FFF2-40B4-BE49-F238E27FC236}">
                <a16:creationId xmlns:a16="http://schemas.microsoft.com/office/drawing/2014/main" id="{8EF37F3F-8EC0-0643-9C75-50629946C88C}"/>
              </a:ext>
            </a:extLst>
          </p:cNvPr>
          <p:cNvSpPr txBox="1"/>
          <p:nvPr/>
        </p:nvSpPr>
        <p:spPr>
          <a:xfrm>
            <a:off x="3968532" y="2885210"/>
            <a:ext cx="2438996" cy="2000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19050" tIns="19050" rIns="19050" bIns="19050" anchor="ctr">
            <a:spAutoFit/>
          </a:bodyPr>
          <a:lstStyle/>
          <a:p>
            <a:pPr algn="l"/>
            <a:r>
              <a:rPr lang="fr-FR" sz="1050" dirty="0">
                <a:latin typeface="Calibri" panose="020F0502020204030204" pitchFamily="34" charset="0"/>
                <a:cs typeface="Calibri" panose="020F0502020204030204" pitchFamily="34" charset="0"/>
              </a:rPr>
              <a:t>Replacement rate</a:t>
            </a:r>
            <a:endParaRPr sz="938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675350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1"/>
          <p:cNvSpPr txBox="1">
            <a:spLocks/>
          </p:cNvSpPr>
          <p:nvPr/>
        </p:nvSpPr>
        <p:spPr>
          <a:xfrm>
            <a:off x="434400" y="272705"/>
            <a:ext cx="8572440" cy="63026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00" b="0" kern="1200" cap="all" baseline="0">
                <a:solidFill>
                  <a:schemeClr val="bg1">
                    <a:alpha val="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400"/>
            <a:r>
              <a:rPr lang="fr-FR" sz="2400" dirty="0">
                <a:solidFill>
                  <a:srgbClr val="82BE00"/>
                </a:solidFill>
                <a:latin typeface="Avenir LT Std 65 Medium"/>
                <a:ea typeface="+mj-lt"/>
                <a:cs typeface="+mj-lt"/>
              </a:rPr>
              <a:t>SNCF: 5 millions voyages / </a:t>
            </a:r>
            <a:r>
              <a:rPr lang="fr-FR" sz="2400" dirty="0" err="1">
                <a:solidFill>
                  <a:srgbClr val="82BE00"/>
                </a:solidFill>
                <a:latin typeface="Avenir LT Std 65 Medium"/>
                <a:ea typeface="+mj-lt"/>
                <a:cs typeface="+mj-lt"/>
              </a:rPr>
              <a:t>day</a:t>
            </a:r>
            <a:r>
              <a:rPr lang="fr-FR" sz="2400" dirty="0">
                <a:solidFill>
                  <a:srgbClr val="82BE00"/>
                </a:solidFill>
                <a:latin typeface="Avenir LT Std 65 Medium"/>
                <a:ea typeface="+mj-lt"/>
                <a:cs typeface="+mj-lt"/>
              </a:rPr>
              <a:t> in France</a:t>
            </a:r>
            <a:endParaRPr lang="fr-FR" sz="2400" dirty="0">
              <a:solidFill>
                <a:srgbClr val="82BE00"/>
              </a:solidFill>
              <a:latin typeface="Avenir LT Std 65 Medium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9133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TITRAGE…"/>
          <p:cNvSpPr txBox="1"/>
          <p:nvPr/>
        </p:nvSpPr>
        <p:spPr>
          <a:xfrm>
            <a:off x="3395406" y="231984"/>
            <a:ext cx="6504551" cy="3461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19050" tIns="19050" rIns="19050" bIns="19050" anchor="ctr">
            <a:spAutoFit/>
          </a:bodyPr>
          <a:lstStyle/>
          <a:p>
            <a:pPr algn="l">
              <a:lnSpc>
                <a:spcPct val="80000"/>
              </a:lnSpc>
              <a:defRPr sz="6500">
                <a:solidFill>
                  <a:srgbClr val="01072E"/>
                </a:solidFill>
                <a:latin typeface="Avenir Black"/>
                <a:ea typeface="Avenir Black"/>
                <a:cs typeface="Avenir Black"/>
                <a:sym typeface="Avenir Black"/>
              </a:defRPr>
            </a:pPr>
            <a:r>
              <a:rPr lang="fr-FR" sz="2438" dirty="0"/>
              <a:t>Machine </a:t>
            </a:r>
            <a:r>
              <a:rPr lang="fr-FR" sz="2438" dirty="0" err="1"/>
              <a:t>learning</a:t>
            </a:r>
            <a:r>
              <a:rPr lang="fr-FR" sz="2438" dirty="0"/>
              <a:t> </a:t>
            </a:r>
            <a:r>
              <a:rPr lang="fr-FR" sz="2438" dirty="0" err="1"/>
              <a:t>algorithm</a:t>
            </a:r>
            <a:endParaRPr sz="2438" dirty="0"/>
          </a:p>
        </p:txBody>
      </p:sp>
      <p:graphicFrame>
        <p:nvGraphicFramePr>
          <p:cNvPr id="5" name="Table 6">
            <a:extLst>
              <a:ext uri="{FF2B5EF4-FFF2-40B4-BE49-F238E27FC236}">
                <a16:creationId xmlns:a16="http://schemas.microsoft.com/office/drawing/2014/main" id="{9116C9E7-C976-6F4C-970F-DF2931E94587}"/>
              </a:ext>
            </a:extLst>
          </p:cNvPr>
          <p:cNvGraphicFramePr>
            <a:graphicFrameLocks noGrp="1"/>
          </p:cNvGraphicFramePr>
          <p:nvPr/>
        </p:nvGraphicFramePr>
        <p:xfrm>
          <a:off x="425859" y="802149"/>
          <a:ext cx="728551" cy="6858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68312">
                  <a:extLst>
                    <a:ext uri="{9D8B030D-6E8A-4147-A177-3AD203B41FA5}">
                      <a16:colId xmlns:a16="http://schemas.microsoft.com/office/drawing/2014/main" val="3713369412"/>
                    </a:ext>
                  </a:extLst>
                </a:gridCol>
                <a:gridCol w="360239">
                  <a:extLst>
                    <a:ext uri="{9D8B030D-6E8A-4147-A177-3AD203B41FA5}">
                      <a16:colId xmlns:a16="http://schemas.microsoft.com/office/drawing/2014/main" val="3277612759"/>
                    </a:ext>
                  </a:extLst>
                </a:gridCol>
              </a:tblGrid>
              <a:tr h="114300">
                <a:tc gridSpan="2">
                  <a:txBody>
                    <a:bodyPr/>
                    <a:lstStyle/>
                    <a:p>
                      <a:r>
                        <a:rPr lang="en-FR" sz="500"/>
                        <a:t>CDA 1</a:t>
                      </a:r>
                    </a:p>
                  </a:txBody>
                  <a:tcPr marL="34290" marR="34290" marT="17145" marB="17145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50098222"/>
                  </a:ext>
                </a:extLst>
              </a:tr>
              <a:tr h="114300">
                <a:tc>
                  <a:txBody>
                    <a:bodyPr/>
                    <a:lstStyle/>
                    <a:p>
                      <a:r>
                        <a:rPr lang="en-FR" sz="500"/>
                        <a:t>Caract 1</a:t>
                      </a:r>
                    </a:p>
                  </a:txBody>
                  <a:tcPr marL="34290" marR="34290" marT="17145" marB="17145"/>
                </a:tc>
                <a:tc>
                  <a:txBody>
                    <a:bodyPr/>
                    <a:lstStyle/>
                    <a:p>
                      <a:r>
                        <a:rPr lang="en-FR" sz="500"/>
                        <a:t>x</a:t>
                      </a:r>
                    </a:p>
                  </a:txBody>
                  <a:tcPr marL="34290" marR="34290" marT="17145" marB="17145"/>
                </a:tc>
                <a:extLst>
                  <a:ext uri="{0D108BD9-81ED-4DB2-BD59-A6C34878D82A}">
                    <a16:rowId xmlns:a16="http://schemas.microsoft.com/office/drawing/2014/main" val="3935474396"/>
                  </a:ext>
                </a:extLst>
              </a:tr>
              <a:tr h="114300">
                <a:tc>
                  <a:txBody>
                    <a:bodyPr/>
                    <a:lstStyle/>
                    <a:p>
                      <a:r>
                        <a:rPr lang="en-FR" sz="500"/>
                        <a:t>Caract 2</a:t>
                      </a:r>
                    </a:p>
                  </a:txBody>
                  <a:tcPr marL="34290" marR="34290" marT="17145" marB="17145"/>
                </a:tc>
                <a:tc>
                  <a:txBody>
                    <a:bodyPr/>
                    <a:lstStyle/>
                    <a:p>
                      <a:r>
                        <a:rPr lang="en-FR" sz="500"/>
                        <a:t>x</a:t>
                      </a:r>
                    </a:p>
                  </a:txBody>
                  <a:tcPr marL="34290" marR="34290" marT="17145" marB="17145"/>
                </a:tc>
                <a:extLst>
                  <a:ext uri="{0D108BD9-81ED-4DB2-BD59-A6C34878D82A}">
                    <a16:rowId xmlns:a16="http://schemas.microsoft.com/office/drawing/2014/main" val="1714631573"/>
                  </a:ext>
                </a:extLst>
              </a:tr>
              <a:tr h="114300">
                <a:tc>
                  <a:txBody>
                    <a:bodyPr/>
                    <a:lstStyle/>
                    <a:p>
                      <a:r>
                        <a:rPr lang="en-FR" sz="500"/>
                        <a:t>Caract 3</a:t>
                      </a:r>
                    </a:p>
                  </a:txBody>
                  <a:tcPr marL="34290" marR="34290" marT="17145" marB="17145"/>
                </a:tc>
                <a:tc>
                  <a:txBody>
                    <a:bodyPr/>
                    <a:lstStyle/>
                    <a:p>
                      <a:r>
                        <a:rPr lang="en-FR" sz="500"/>
                        <a:t>x</a:t>
                      </a:r>
                    </a:p>
                  </a:txBody>
                  <a:tcPr marL="34290" marR="34290" marT="17145" marB="17145"/>
                </a:tc>
                <a:extLst>
                  <a:ext uri="{0D108BD9-81ED-4DB2-BD59-A6C34878D82A}">
                    <a16:rowId xmlns:a16="http://schemas.microsoft.com/office/drawing/2014/main" val="2085023270"/>
                  </a:ext>
                </a:extLst>
              </a:tr>
              <a:tr h="114300">
                <a:tc>
                  <a:txBody>
                    <a:bodyPr/>
                    <a:lstStyle/>
                    <a:p>
                      <a:r>
                        <a:rPr lang="en-FR" sz="500"/>
                        <a:t>…</a:t>
                      </a:r>
                    </a:p>
                  </a:txBody>
                  <a:tcPr marL="34290" marR="34290" marT="17145" marB="17145"/>
                </a:tc>
                <a:tc>
                  <a:txBody>
                    <a:bodyPr/>
                    <a:lstStyle/>
                    <a:p>
                      <a:r>
                        <a:rPr lang="en-FR" sz="500"/>
                        <a:t>…</a:t>
                      </a:r>
                    </a:p>
                  </a:txBody>
                  <a:tcPr marL="34290" marR="34290" marT="17145" marB="17145"/>
                </a:tc>
                <a:extLst>
                  <a:ext uri="{0D108BD9-81ED-4DB2-BD59-A6C34878D82A}">
                    <a16:rowId xmlns:a16="http://schemas.microsoft.com/office/drawing/2014/main" val="3390778650"/>
                  </a:ext>
                </a:extLst>
              </a:tr>
              <a:tr h="114300">
                <a:tc>
                  <a:txBody>
                    <a:bodyPr/>
                    <a:lstStyle/>
                    <a:p>
                      <a:r>
                        <a:rPr lang="en-FR" sz="500" b="1"/>
                        <a:t>Cible</a:t>
                      </a:r>
                    </a:p>
                  </a:txBody>
                  <a:tcPr marL="34290" marR="34290" marT="17145" marB="17145"/>
                </a:tc>
                <a:tc>
                  <a:txBody>
                    <a:bodyPr/>
                    <a:lstStyle/>
                    <a:p>
                      <a:endParaRPr lang="en-FR" sz="500"/>
                    </a:p>
                  </a:txBody>
                  <a:tcPr marL="34290" marR="34290" marT="17145" marB="17145"/>
                </a:tc>
                <a:extLst>
                  <a:ext uri="{0D108BD9-81ED-4DB2-BD59-A6C34878D82A}">
                    <a16:rowId xmlns:a16="http://schemas.microsoft.com/office/drawing/2014/main" val="2432545591"/>
                  </a:ext>
                </a:extLst>
              </a:tr>
            </a:tbl>
          </a:graphicData>
        </a:graphic>
      </p:graphicFrame>
      <p:sp>
        <p:nvSpPr>
          <p:cNvPr id="9" name="Oval 8">
            <a:extLst>
              <a:ext uri="{FF2B5EF4-FFF2-40B4-BE49-F238E27FC236}">
                <a16:creationId xmlns:a16="http://schemas.microsoft.com/office/drawing/2014/main" id="{5096298D-AE8F-8441-8CFF-AE996121238C}"/>
              </a:ext>
            </a:extLst>
          </p:cNvPr>
          <p:cNvSpPr/>
          <p:nvPr/>
        </p:nvSpPr>
        <p:spPr>
          <a:xfrm>
            <a:off x="936625" y="1271321"/>
            <a:ext cx="57150" cy="313774"/>
          </a:xfrm>
          <a:prstGeom prst="ellipse">
            <a:avLst/>
          </a:prstGeom>
          <a:solidFill>
            <a:srgbClr val="FF000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algn="ctr" defTabSz="309563" hangingPunct="0"/>
            <a:endParaRPr lang="en-FR" sz="1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9D76428-D947-A845-A280-1985AB7CE4EC}"/>
              </a:ext>
            </a:extLst>
          </p:cNvPr>
          <p:cNvSpPr/>
          <p:nvPr/>
        </p:nvSpPr>
        <p:spPr>
          <a:xfrm>
            <a:off x="222250" y="1453704"/>
            <a:ext cx="2761343" cy="223138"/>
          </a:xfrm>
          <a:prstGeom prst="rect">
            <a:avLst/>
          </a:prstGeom>
          <a:noFill/>
          <a:ln w="57150" cap="flat">
            <a:solidFill>
              <a:schemeClr val="accent1">
                <a:lumMod val="75000"/>
              </a:scheme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algn="ctr" defTabSz="309563" hangingPunct="0"/>
            <a:endParaRPr lang="en-FR" sz="1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45F1E3C-C378-7D48-A70B-743E6FB5EAE6}"/>
              </a:ext>
            </a:extLst>
          </p:cNvPr>
          <p:cNvSpPr txBox="1"/>
          <p:nvPr/>
        </p:nvSpPr>
        <p:spPr>
          <a:xfrm>
            <a:off x="685800" y="410692"/>
            <a:ext cx="1971272" cy="1769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algn="ctr" defTabSz="914377" hangingPunct="0"/>
            <a:r>
              <a:rPr lang="fr-FR" sz="900" b="1" dirty="0" err="1">
                <a:solidFill>
                  <a:srgbClr val="5E5E5E"/>
                </a:solidFill>
                <a:sym typeface="Helvetica Neue"/>
              </a:rPr>
              <a:t>Labelled</a:t>
            </a:r>
            <a:r>
              <a:rPr lang="fr-FR" sz="900" b="1" dirty="0">
                <a:solidFill>
                  <a:srgbClr val="5E5E5E"/>
                </a:solidFill>
                <a:sym typeface="Helvetica Neue"/>
              </a:rPr>
              <a:t> </a:t>
            </a:r>
            <a:r>
              <a:rPr lang="fr-FR" sz="900" b="1" dirty="0" err="1">
                <a:solidFill>
                  <a:srgbClr val="5E5E5E"/>
                </a:solidFill>
                <a:sym typeface="Helvetica Neue"/>
              </a:rPr>
              <a:t>procurement</a:t>
            </a:r>
            <a:r>
              <a:rPr lang="fr-FR" sz="900" b="1" dirty="0">
                <a:solidFill>
                  <a:srgbClr val="5E5E5E"/>
                </a:solidFill>
                <a:sym typeface="Helvetica Neue"/>
              </a:rPr>
              <a:t> </a:t>
            </a:r>
            <a:r>
              <a:rPr lang="fr-FR" sz="900" b="1" dirty="0" err="1">
                <a:solidFill>
                  <a:srgbClr val="5E5E5E"/>
                </a:solidFill>
                <a:sym typeface="Helvetica Neue"/>
              </a:rPr>
              <a:t>orders</a:t>
            </a:r>
            <a:endParaRPr lang="en-FR" sz="900" b="1" dirty="0">
              <a:solidFill>
                <a:srgbClr val="5E5E5E"/>
              </a:solidFill>
              <a:sym typeface="Helvetica Neue"/>
            </a:endParaRPr>
          </a:p>
        </p:txBody>
      </p:sp>
      <p:graphicFrame>
        <p:nvGraphicFramePr>
          <p:cNvPr id="29" name="Table 6">
            <a:extLst>
              <a:ext uri="{FF2B5EF4-FFF2-40B4-BE49-F238E27FC236}">
                <a16:creationId xmlns:a16="http://schemas.microsoft.com/office/drawing/2014/main" id="{88D75C3A-33D0-BC4B-9C64-659000E720A7}"/>
              </a:ext>
            </a:extLst>
          </p:cNvPr>
          <p:cNvGraphicFramePr>
            <a:graphicFrameLocks noGrp="1"/>
          </p:cNvGraphicFramePr>
          <p:nvPr/>
        </p:nvGraphicFramePr>
        <p:xfrm>
          <a:off x="1332210" y="802149"/>
          <a:ext cx="728551" cy="6858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68312">
                  <a:extLst>
                    <a:ext uri="{9D8B030D-6E8A-4147-A177-3AD203B41FA5}">
                      <a16:colId xmlns:a16="http://schemas.microsoft.com/office/drawing/2014/main" val="3713369412"/>
                    </a:ext>
                  </a:extLst>
                </a:gridCol>
                <a:gridCol w="360239">
                  <a:extLst>
                    <a:ext uri="{9D8B030D-6E8A-4147-A177-3AD203B41FA5}">
                      <a16:colId xmlns:a16="http://schemas.microsoft.com/office/drawing/2014/main" val="3277612759"/>
                    </a:ext>
                  </a:extLst>
                </a:gridCol>
              </a:tblGrid>
              <a:tr h="114300">
                <a:tc gridSpan="2">
                  <a:txBody>
                    <a:bodyPr/>
                    <a:lstStyle/>
                    <a:p>
                      <a:r>
                        <a:rPr lang="en-FR" sz="500"/>
                        <a:t>CDA 2</a:t>
                      </a:r>
                    </a:p>
                  </a:txBody>
                  <a:tcPr marL="34290" marR="34290" marT="17145" marB="17145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50098222"/>
                  </a:ext>
                </a:extLst>
              </a:tr>
              <a:tr h="114300">
                <a:tc>
                  <a:txBody>
                    <a:bodyPr/>
                    <a:lstStyle/>
                    <a:p>
                      <a:r>
                        <a:rPr lang="en-FR" sz="500"/>
                        <a:t>Caract 1</a:t>
                      </a:r>
                    </a:p>
                  </a:txBody>
                  <a:tcPr marL="34290" marR="34290" marT="17145" marB="17145"/>
                </a:tc>
                <a:tc>
                  <a:txBody>
                    <a:bodyPr/>
                    <a:lstStyle/>
                    <a:p>
                      <a:r>
                        <a:rPr lang="en-FR" sz="500"/>
                        <a:t>x</a:t>
                      </a:r>
                    </a:p>
                  </a:txBody>
                  <a:tcPr marL="34290" marR="34290" marT="17145" marB="17145"/>
                </a:tc>
                <a:extLst>
                  <a:ext uri="{0D108BD9-81ED-4DB2-BD59-A6C34878D82A}">
                    <a16:rowId xmlns:a16="http://schemas.microsoft.com/office/drawing/2014/main" val="3935474396"/>
                  </a:ext>
                </a:extLst>
              </a:tr>
              <a:tr h="114300">
                <a:tc>
                  <a:txBody>
                    <a:bodyPr/>
                    <a:lstStyle/>
                    <a:p>
                      <a:r>
                        <a:rPr lang="en-FR" sz="500"/>
                        <a:t>Caract 2</a:t>
                      </a:r>
                    </a:p>
                  </a:txBody>
                  <a:tcPr marL="34290" marR="34290" marT="17145" marB="17145"/>
                </a:tc>
                <a:tc>
                  <a:txBody>
                    <a:bodyPr/>
                    <a:lstStyle/>
                    <a:p>
                      <a:r>
                        <a:rPr lang="en-FR" sz="500"/>
                        <a:t>x</a:t>
                      </a:r>
                    </a:p>
                  </a:txBody>
                  <a:tcPr marL="34290" marR="34290" marT="17145" marB="17145"/>
                </a:tc>
                <a:extLst>
                  <a:ext uri="{0D108BD9-81ED-4DB2-BD59-A6C34878D82A}">
                    <a16:rowId xmlns:a16="http://schemas.microsoft.com/office/drawing/2014/main" val="1714631573"/>
                  </a:ext>
                </a:extLst>
              </a:tr>
              <a:tr h="114300">
                <a:tc>
                  <a:txBody>
                    <a:bodyPr/>
                    <a:lstStyle/>
                    <a:p>
                      <a:r>
                        <a:rPr lang="en-FR" sz="500"/>
                        <a:t>Caract 3</a:t>
                      </a:r>
                    </a:p>
                  </a:txBody>
                  <a:tcPr marL="34290" marR="34290" marT="17145" marB="17145"/>
                </a:tc>
                <a:tc>
                  <a:txBody>
                    <a:bodyPr/>
                    <a:lstStyle/>
                    <a:p>
                      <a:r>
                        <a:rPr lang="en-FR" sz="500"/>
                        <a:t>x</a:t>
                      </a:r>
                    </a:p>
                  </a:txBody>
                  <a:tcPr marL="34290" marR="34290" marT="17145" marB="17145"/>
                </a:tc>
                <a:extLst>
                  <a:ext uri="{0D108BD9-81ED-4DB2-BD59-A6C34878D82A}">
                    <a16:rowId xmlns:a16="http://schemas.microsoft.com/office/drawing/2014/main" val="2085023270"/>
                  </a:ext>
                </a:extLst>
              </a:tr>
              <a:tr h="114300">
                <a:tc>
                  <a:txBody>
                    <a:bodyPr/>
                    <a:lstStyle/>
                    <a:p>
                      <a:r>
                        <a:rPr lang="en-FR" sz="500"/>
                        <a:t>…</a:t>
                      </a:r>
                    </a:p>
                  </a:txBody>
                  <a:tcPr marL="34290" marR="34290" marT="17145" marB="17145"/>
                </a:tc>
                <a:tc>
                  <a:txBody>
                    <a:bodyPr/>
                    <a:lstStyle/>
                    <a:p>
                      <a:r>
                        <a:rPr lang="en-FR" sz="500"/>
                        <a:t>…</a:t>
                      </a:r>
                    </a:p>
                  </a:txBody>
                  <a:tcPr marL="34290" marR="34290" marT="17145" marB="17145"/>
                </a:tc>
                <a:extLst>
                  <a:ext uri="{0D108BD9-81ED-4DB2-BD59-A6C34878D82A}">
                    <a16:rowId xmlns:a16="http://schemas.microsoft.com/office/drawing/2014/main" val="3390778650"/>
                  </a:ext>
                </a:extLst>
              </a:tr>
              <a:tr h="114300">
                <a:tc>
                  <a:txBody>
                    <a:bodyPr/>
                    <a:lstStyle/>
                    <a:p>
                      <a:r>
                        <a:rPr lang="en-FR" sz="500" b="1"/>
                        <a:t>Cible</a:t>
                      </a:r>
                    </a:p>
                  </a:txBody>
                  <a:tcPr marL="34290" marR="34290" marT="17145" marB="17145"/>
                </a:tc>
                <a:tc>
                  <a:txBody>
                    <a:bodyPr/>
                    <a:lstStyle/>
                    <a:p>
                      <a:endParaRPr lang="en-FR" sz="500" dirty="0"/>
                    </a:p>
                  </a:txBody>
                  <a:tcPr marL="34290" marR="34290" marT="17145" marB="17145"/>
                </a:tc>
                <a:extLst>
                  <a:ext uri="{0D108BD9-81ED-4DB2-BD59-A6C34878D82A}">
                    <a16:rowId xmlns:a16="http://schemas.microsoft.com/office/drawing/2014/main" val="2432545591"/>
                  </a:ext>
                </a:extLst>
              </a:tr>
            </a:tbl>
          </a:graphicData>
        </a:graphic>
      </p:graphicFrame>
      <p:sp>
        <p:nvSpPr>
          <p:cNvPr id="30" name="Oval 29">
            <a:extLst>
              <a:ext uri="{FF2B5EF4-FFF2-40B4-BE49-F238E27FC236}">
                <a16:creationId xmlns:a16="http://schemas.microsoft.com/office/drawing/2014/main" id="{EAB8BD42-74A8-0448-BB9E-5183475B4B7A}"/>
              </a:ext>
            </a:extLst>
          </p:cNvPr>
          <p:cNvSpPr/>
          <p:nvPr/>
        </p:nvSpPr>
        <p:spPr>
          <a:xfrm>
            <a:off x="1842976" y="1271321"/>
            <a:ext cx="57150" cy="313774"/>
          </a:xfrm>
          <a:prstGeom prst="ellipse">
            <a:avLst/>
          </a:prstGeom>
          <a:solidFill>
            <a:srgbClr val="00B05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algn="ctr" defTabSz="309563" hangingPunct="0"/>
            <a:endParaRPr lang="en-FR" sz="1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31" name="Table 6">
            <a:extLst>
              <a:ext uri="{FF2B5EF4-FFF2-40B4-BE49-F238E27FC236}">
                <a16:creationId xmlns:a16="http://schemas.microsoft.com/office/drawing/2014/main" id="{BF614E14-10B8-1144-9C1C-637DE4DD33AB}"/>
              </a:ext>
            </a:extLst>
          </p:cNvPr>
          <p:cNvGraphicFramePr>
            <a:graphicFrameLocks noGrp="1"/>
          </p:cNvGraphicFramePr>
          <p:nvPr/>
        </p:nvGraphicFramePr>
        <p:xfrm>
          <a:off x="425859" y="1637552"/>
          <a:ext cx="728551" cy="6858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68312">
                  <a:extLst>
                    <a:ext uri="{9D8B030D-6E8A-4147-A177-3AD203B41FA5}">
                      <a16:colId xmlns:a16="http://schemas.microsoft.com/office/drawing/2014/main" val="3713369412"/>
                    </a:ext>
                  </a:extLst>
                </a:gridCol>
                <a:gridCol w="360239">
                  <a:extLst>
                    <a:ext uri="{9D8B030D-6E8A-4147-A177-3AD203B41FA5}">
                      <a16:colId xmlns:a16="http://schemas.microsoft.com/office/drawing/2014/main" val="3277612759"/>
                    </a:ext>
                  </a:extLst>
                </a:gridCol>
              </a:tblGrid>
              <a:tr h="114300">
                <a:tc gridSpan="2">
                  <a:txBody>
                    <a:bodyPr/>
                    <a:lstStyle/>
                    <a:p>
                      <a:r>
                        <a:rPr lang="en-FR" sz="500"/>
                        <a:t>CDA 4</a:t>
                      </a:r>
                    </a:p>
                  </a:txBody>
                  <a:tcPr marL="34290" marR="34290" marT="17145" marB="17145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50098222"/>
                  </a:ext>
                </a:extLst>
              </a:tr>
              <a:tr h="114300">
                <a:tc>
                  <a:txBody>
                    <a:bodyPr/>
                    <a:lstStyle/>
                    <a:p>
                      <a:r>
                        <a:rPr lang="en-FR" sz="500"/>
                        <a:t>Caract 1</a:t>
                      </a:r>
                    </a:p>
                  </a:txBody>
                  <a:tcPr marL="34290" marR="34290" marT="17145" marB="17145"/>
                </a:tc>
                <a:tc>
                  <a:txBody>
                    <a:bodyPr/>
                    <a:lstStyle/>
                    <a:p>
                      <a:r>
                        <a:rPr lang="en-FR" sz="500"/>
                        <a:t>x</a:t>
                      </a:r>
                    </a:p>
                  </a:txBody>
                  <a:tcPr marL="34290" marR="34290" marT="17145" marB="17145"/>
                </a:tc>
                <a:extLst>
                  <a:ext uri="{0D108BD9-81ED-4DB2-BD59-A6C34878D82A}">
                    <a16:rowId xmlns:a16="http://schemas.microsoft.com/office/drawing/2014/main" val="3935474396"/>
                  </a:ext>
                </a:extLst>
              </a:tr>
              <a:tr h="114300">
                <a:tc>
                  <a:txBody>
                    <a:bodyPr/>
                    <a:lstStyle/>
                    <a:p>
                      <a:r>
                        <a:rPr lang="en-FR" sz="500"/>
                        <a:t>Caract 2</a:t>
                      </a:r>
                    </a:p>
                  </a:txBody>
                  <a:tcPr marL="34290" marR="34290" marT="17145" marB="17145"/>
                </a:tc>
                <a:tc>
                  <a:txBody>
                    <a:bodyPr/>
                    <a:lstStyle/>
                    <a:p>
                      <a:r>
                        <a:rPr lang="en-FR" sz="500"/>
                        <a:t>x</a:t>
                      </a:r>
                    </a:p>
                  </a:txBody>
                  <a:tcPr marL="34290" marR="34290" marT="17145" marB="17145"/>
                </a:tc>
                <a:extLst>
                  <a:ext uri="{0D108BD9-81ED-4DB2-BD59-A6C34878D82A}">
                    <a16:rowId xmlns:a16="http://schemas.microsoft.com/office/drawing/2014/main" val="1714631573"/>
                  </a:ext>
                </a:extLst>
              </a:tr>
              <a:tr h="114300">
                <a:tc>
                  <a:txBody>
                    <a:bodyPr/>
                    <a:lstStyle/>
                    <a:p>
                      <a:r>
                        <a:rPr lang="en-FR" sz="500"/>
                        <a:t>Caract 3</a:t>
                      </a:r>
                    </a:p>
                  </a:txBody>
                  <a:tcPr marL="34290" marR="34290" marT="17145" marB="17145"/>
                </a:tc>
                <a:tc>
                  <a:txBody>
                    <a:bodyPr/>
                    <a:lstStyle/>
                    <a:p>
                      <a:r>
                        <a:rPr lang="en-FR" sz="500"/>
                        <a:t>x</a:t>
                      </a:r>
                    </a:p>
                  </a:txBody>
                  <a:tcPr marL="34290" marR="34290" marT="17145" marB="17145"/>
                </a:tc>
                <a:extLst>
                  <a:ext uri="{0D108BD9-81ED-4DB2-BD59-A6C34878D82A}">
                    <a16:rowId xmlns:a16="http://schemas.microsoft.com/office/drawing/2014/main" val="2085023270"/>
                  </a:ext>
                </a:extLst>
              </a:tr>
              <a:tr h="114300">
                <a:tc>
                  <a:txBody>
                    <a:bodyPr/>
                    <a:lstStyle/>
                    <a:p>
                      <a:r>
                        <a:rPr lang="en-FR" sz="500"/>
                        <a:t>…</a:t>
                      </a:r>
                    </a:p>
                  </a:txBody>
                  <a:tcPr marL="34290" marR="34290" marT="17145" marB="17145"/>
                </a:tc>
                <a:tc>
                  <a:txBody>
                    <a:bodyPr/>
                    <a:lstStyle/>
                    <a:p>
                      <a:r>
                        <a:rPr lang="en-FR" sz="500"/>
                        <a:t>…</a:t>
                      </a:r>
                    </a:p>
                  </a:txBody>
                  <a:tcPr marL="34290" marR="34290" marT="17145" marB="17145"/>
                </a:tc>
                <a:extLst>
                  <a:ext uri="{0D108BD9-81ED-4DB2-BD59-A6C34878D82A}">
                    <a16:rowId xmlns:a16="http://schemas.microsoft.com/office/drawing/2014/main" val="3390778650"/>
                  </a:ext>
                </a:extLst>
              </a:tr>
              <a:tr h="114300">
                <a:tc>
                  <a:txBody>
                    <a:bodyPr/>
                    <a:lstStyle/>
                    <a:p>
                      <a:r>
                        <a:rPr lang="en-FR" sz="500" b="1"/>
                        <a:t>Cible</a:t>
                      </a:r>
                    </a:p>
                  </a:txBody>
                  <a:tcPr marL="34290" marR="34290" marT="17145" marB="17145"/>
                </a:tc>
                <a:tc>
                  <a:txBody>
                    <a:bodyPr/>
                    <a:lstStyle/>
                    <a:p>
                      <a:endParaRPr lang="en-FR" sz="500"/>
                    </a:p>
                  </a:txBody>
                  <a:tcPr marL="34290" marR="34290" marT="17145" marB="17145"/>
                </a:tc>
                <a:extLst>
                  <a:ext uri="{0D108BD9-81ED-4DB2-BD59-A6C34878D82A}">
                    <a16:rowId xmlns:a16="http://schemas.microsoft.com/office/drawing/2014/main" val="2432545591"/>
                  </a:ext>
                </a:extLst>
              </a:tr>
            </a:tbl>
          </a:graphicData>
        </a:graphic>
      </p:graphicFrame>
      <p:sp>
        <p:nvSpPr>
          <p:cNvPr id="32" name="Oval 31">
            <a:extLst>
              <a:ext uri="{FF2B5EF4-FFF2-40B4-BE49-F238E27FC236}">
                <a16:creationId xmlns:a16="http://schemas.microsoft.com/office/drawing/2014/main" id="{F58A92B4-95A5-1540-AB0F-1FBCBD63ED31}"/>
              </a:ext>
            </a:extLst>
          </p:cNvPr>
          <p:cNvSpPr/>
          <p:nvPr/>
        </p:nvSpPr>
        <p:spPr>
          <a:xfrm>
            <a:off x="936625" y="2106723"/>
            <a:ext cx="57150" cy="313774"/>
          </a:xfrm>
          <a:prstGeom prst="ellipse">
            <a:avLst/>
          </a:prstGeom>
          <a:solidFill>
            <a:srgbClr val="FFC00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algn="ctr" defTabSz="309563" hangingPunct="0"/>
            <a:endParaRPr lang="en-FR" sz="1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33" name="Table 6">
            <a:extLst>
              <a:ext uri="{FF2B5EF4-FFF2-40B4-BE49-F238E27FC236}">
                <a16:creationId xmlns:a16="http://schemas.microsoft.com/office/drawing/2014/main" id="{DD3C45E2-F301-474A-A8C5-13B4E4754FCA}"/>
              </a:ext>
            </a:extLst>
          </p:cNvPr>
          <p:cNvGraphicFramePr>
            <a:graphicFrameLocks noGrp="1"/>
          </p:cNvGraphicFramePr>
          <p:nvPr/>
        </p:nvGraphicFramePr>
        <p:xfrm>
          <a:off x="2207251" y="802149"/>
          <a:ext cx="728551" cy="6858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68312">
                  <a:extLst>
                    <a:ext uri="{9D8B030D-6E8A-4147-A177-3AD203B41FA5}">
                      <a16:colId xmlns:a16="http://schemas.microsoft.com/office/drawing/2014/main" val="3713369412"/>
                    </a:ext>
                  </a:extLst>
                </a:gridCol>
                <a:gridCol w="360239">
                  <a:extLst>
                    <a:ext uri="{9D8B030D-6E8A-4147-A177-3AD203B41FA5}">
                      <a16:colId xmlns:a16="http://schemas.microsoft.com/office/drawing/2014/main" val="3277612759"/>
                    </a:ext>
                  </a:extLst>
                </a:gridCol>
              </a:tblGrid>
              <a:tr h="114300">
                <a:tc gridSpan="2">
                  <a:txBody>
                    <a:bodyPr/>
                    <a:lstStyle/>
                    <a:p>
                      <a:r>
                        <a:rPr lang="en-FR" sz="500"/>
                        <a:t>CDA 3</a:t>
                      </a:r>
                    </a:p>
                  </a:txBody>
                  <a:tcPr marL="34290" marR="34290" marT="17145" marB="17145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50098222"/>
                  </a:ext>
                </a:extLst>
              </a:tr>
              <a:tr h="114300">
                <a:tc>
                  <a:txBody>
                    <a:bodyPr/>
                    <a:lstStyle/>
                    <a:p>
                      <a:r>
                        <a:rPr lang="en-FR" sz="500"/>
                        <a:t>Caract 1</a:t>
                      </a:r>
                    </a:p>
                  </a:txBody>
                  <a:tcPr marL="34290" marR="34290" marT="17145" marB="17145"/>
                </a:tc>
                <a:tc>
                  <a:txBody>
                    <a:bodyPr/>
                    <a:lstStyle/>
                    <a:p>
                      <a:r>
                        <a:rPr lang="en-FR" sz="500"/>
                        <a:t>x</a:t>
                      </a:r>
                    </a:p>
                  </a:txBody>
                  <a:tcPr marL="34290" marR="34290" marT="17145" marB="17145"/>
                </a:tc>
                <a:extLst>
                  <a:ext uri="{0D108BD9-81ED-4DB2-BD59-A6C34878D82A}">
                    <a16:rowId xmlns:a16="http://schemas.microsoft.com/office/drawing/2014/main" val="3935474396"/>
                  </a:ext>
                </a:extLst>
              </a:tr>
              <a:tr h="114300">
                <a:tc>
                  <a:txBody>
                    <a:bodyPr/>
                    <a:lstStyle/>
                    <a:p>
                      <a:r>
                        <a:rPr lang="en-FR" sz="500"/>
                        <a:t>Caract 2</a:t>
                      </a:r>
                    </a:p>
                  </a:txBody>
                  <a:tcPr marL="34290" marR="34290" marT="17145" marB="17145"/>
                </a:tc>
                <a:tc>
                  <a:txBody>
                    <a:bodyPr/>
                    <a:lstStyle/>
                    <a:p>
                      <a:r>
                        <a:rPr lang="en-FR" sz="500"/>
                        <a:t>x</a:t>
                      </a:r>
                    </a:p>
                  </a:txBody>
                  <a:tcPr marL="34290" marR="34290" marT="17145" marB="17145"/>
                </a:tc>
                <a:extLst>
                  <a:ext uri="{0D108BD9-81ED-4DB2-BD59-A6C34878D82A}">
                    <a16:rowId xmlns:a16="http://schemas.microsoft.com/office/drawing/2014/main" val="1714631573"/>
                  </a:ext>
                </a:extLst>
              </a:tr>
              <a:tr h="114300">
                <a:tc>
                  <a:txBody>
                    <a:bodyPr/>
                    <a:lstStyle/>
                    <a:p>
                      <a:r>
                        <a:rPr lang="en-FR" sz="500"/>
                        <a:t>Caract 3</a:t>
                      </a:r>
                    </a:p>
                  </a:txBody>
                  <a:tcPr marL="34290" marR="34290" marT="17145" marB="17145"/>
                </a:tc>
                <a:tc>
                  <a:txBody>
                    <a:bodyPr/>
                    <a:lstStyle/>
                    <a:p>
                      <a:r>
                        <a:rPr lang="en-FR" sz="500"/>
                        <a:t>x</a:t>
                      </a:r>
                    </a:p>
                  </a:txBody>
                  <a:tcPr marL="34290" marR="34290" marT="17145" marB="17145"/>
                </a:tc>
                <a:extLst>
                  <a:ext uri="{0D108BD9-81ED-4DB2-BD59-A6C34878D82A}">
                    <a16:rowId xmlns:a16="http://schemas.microsoft.com/office/drawing/2014/main" val="2085023270"/>
                  </a:ext>
                </a:extLst>
              </a:tr>
              <a:tr h="114300">
                <a:tc>
                  <a:txBody>
                    <a:bodyPr/>
                    <a:lstStyle/>
                    <a:p>
                      <a:r>
                        <a:rPr lang="en-FR" sz="500"/>
                        <a:t>…</a:t>
                      </a:r>
                    </a:p>
                  </a:txBody>
                  <a:tcPr marL="34290" marR="34290" marT="17145" marB="17145"/>
                </a:tc>
                <a:tc>
                  <a:txBody>
                    <a:bodyPr/>
                    <a:lstStyle/>
                    <a:p>
                      <a:r>
                        <a:rPr lang="en-FR" sz="500"/>
                        <a:t>…</a:t>
                      </a:r>
                    </a:p>
                  </a:txBody>
                  <a:tcPr marL="34290" marR="34290" marT="17145" marB="17145"/>
                </a:tc>
                <a:extLst>
                  <a:ext uri="{0D108BD9-81ED-4DB2-BD59-A6C34878D82A}">
                    <a16:rowId xmlns:a16="http://schemas.microsoft.com/office/drawing/2014/main" val="3390778650"/>
                  </a:ext>
                </a:extLst>
              </a:tr>
              <a:tr h="114300">
                <a:tc>
                  <a:txBody>
                    <a:bodyPr/>
                    <a:lstStyle/>
                    <a:p>
                      <a:r>
                        <a:rPr lang="en-FR" sz="500" b="1"/>
                        <a:t>Cible</a:t>
                      </a:r>
                    </a:p>
                  </a:txBody>
                  <a:tcPr marL="34290" marR="34290" marT="17145" marB="17145"/>
                </a:tc>
                <a:tc>
                  <a:txBody>
                    <a:bodyPr/>
                    <a:lstStyle/>
                    <a:p>
                      <a:endParaRPr lang="en-FR" sz="500"/>
                    </a:p>
                  </a:txBody>
                  <a:tcPr marL="34290" marR="34290" marT="17145" marB="17145"/>
                </a:tc>
                <a:extLst>
                  <a:ext uri="{0D108BD9-81ED-4DB2-BD59-A6C34878D82A}">
                    <a16:rowId xmlns:a16="http://schemas.microsoft.com/office/drawing/2014/main" val="2432545591"/>
                  </a:ext>
                </a:extLst>
              </a:tr>
            </a:tbl>
          </a:graphicData>
        </a:graphic>
      </p:graphicFrame>
      <p:sp>
        <p:nvSpPr>
          <p:cNvPr id="34" name="Oval 33">
            <a:extLst>
              <a:ext uri="{FF2B5EF4-FFF2-40B4-BE49-F238E27FC236}">
                <a16:creationId xmlns:a16="http://schemas.microsoft.com/office/drawing/2014/main" id="{6603BBD8-BB62-0242-92BE-33DD073BC69E}"/>
              </a:ext>
            </a:extLst>
          </p:cNvPr>
          <p:cNvSpPr/>
          <p:nvPr/>
        </p:nvSpPr>
        <p:spPr>
          <a:xfrm>
            <a:off x="2719466" y="1276923"/>
            <a:ext cx="57150" cy="313774"/>
          </a:xfrm>
          <a:prstGeom prst="ellipse">
            <a:avLst/>
          </a:prstGeom>
          <a:solidFill>
            <a:srgbClr val="FF000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algn="ctr" defTabSz="309563" hangingPunct="0"/>
            <a:endParaRPr lang="en-FR" sz="1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35" name="Table 6">
            <a:extLst>
              <a:ext uri="{FF2B5EF4-FFF2-40B4-BE49-F238E27FC236}">
                <a16:creationId xmlns:a16="http://schemas.microsoft.com/office/drawing/2014/main" id="{772354DB-310D-A14F-B2EE-18F450F95955}"/>
              </a:ext>
            </a:extLst>
          </p:cNvPr>
          <p:cNvGraphicFramePr>
            <a:graphicFrameLocks noGrp="1"/>
          </p:cNvGraphicFramePr>
          <p:nvPr/>
        </p:nvGraphicFramePr>
        <p:xfrm>
          <a:off x="1340450" y="1637552"/>
          <a:ext cx="728551" cy="6858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68312">
                  <a:extLst>
                    <a:ext uri="{9D8B030D-6E8A-4147-A177-3AD203B41FA5}">
                      <a16:colId xmlns:a16="http://schemas.microsoft.com/office/drawing/2014/main" val="3713369412"/>
                    </a:ext>
                  </a:extLst>
                </a:gridCol>
                <a:gridCol w="360239">
                  <a:extLst>
                    <a:ext uri="{9D8B030D-6E8A-4147-A177-3AD203B41FA5}">
                      <a16:colId xmlns:a16="http://schemas.microsoft.com/office/drawing/2014/main" val="3277612759"/>
                    </a:ext>
                  </a:extLst>
                </a:gridCol>
              </a:tblGrid>
              <a:tr h="114300">
                <a:tc gridSpan="2">
                  <a:txBody>
                    <a:bodyPr/>
                    <a:lstStyle/>
                    <a:p>
                      <a:r>
                        <a:rPr lang="en-FR" sz="500"/>
                        <a:t>CDA 5</a:t>
                      </a:r>
                    </a:p>
                  </a:txBody>
                  <a:tcPr marL="34290" marR="34290" marT="17145" marB="17145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50098222"/>
                  </a:ext>
                </a:extLst>
              </a:tr>
              <a:tr h="114300">
                <a:tc>
                  <a:txBody>
                    <a:bodyPr/>
                    <a:lstStyle/>
                    <a:p>
                      <a:r>
                        <a:rPr lang="en-FR" sz="500"/>
                        <a:t>Caract 1</a:t>
                      </a:r>
                    </a:p>
                  </a:txBody>
                  <a:tcPr marL="34290" marR="34290" marT="17145" marB="17145"/>
                </a:tc>
                <a:tc>
                  <a:txBody>
                    <a:bodyPr/>
                    <a:lstStyle/>
                    <a:p>
                      <a:r>
                        <a:rPr lang="en-FR" sz="500"/>
                        <a:t>x</a:t>
                      </a:r>
                    </a:p>
                  </a:txBody>
                  <a:tcPr marL="34290" marR="34290" marT="17145" marB="17145"/>
                </a:tc>
                <a:extLst>
                  <a:ext uri="{0D108BD9-81ED-4DB2-BD59-A6C34878D82A}">
                    <a16:rowId xmlns:a16="http://schemas.microsoft.com/office/drawing/2014/main" val="3935474396"/>
                  </a:ext>
                </a:extLst>
              </a:tr>
              <a:tr h="114300">
                <a:tc>
                  <a:txBody>
                    <a:bodyPr/>
                    <a:lstStyle/>
                    <a:p>
                      <a:r>
                        <a:rPr lang="en-FR" sz="500"/>
                        <a:t>Caract 2</a:t>
                      </a:r>
                    </a:p>
                  </a:txBody>
                  <a:tcPr marL="34290" marR="34290" marT="17145" marB="17145"/>
                </a:tc>
                <a:tc>
                  <a:txBody>
                    <a:bodyPr/>
                    <a:lstStyle/>
                    <a:p>
                      <a:r>
                        <a:rPr lang="en-FR" sz="500"/>
                        <a:t>x</a:t>
                      </a:r>
                    </a:p>
                  </a:txBody>
                  <a:tcPr marL="34290" marR="34290" marT="17145" marB="17145"/>
                </a:tc>
                <a:extLst>
                  <a:ext uri="{0D108BD9-81ED-4DB2-BD59-A6C34878D82A}">
                    <a16:rowId xmlns:a16="http://schemas.microsoft.com/office/drawing/2014/main" val="1714631573"/>
                  </a:ext>
                </a:extLst>
              </a:tr>
              <a:tr h="114300">
                <a:tc>
                  <a:txBody>
                    <a:bodyPr/>
                    <a:lstStyle/>
                    <a:p>
                      <a:r>
                        <a:rPr lang="en-FR" sz="500"/>
                        <a:t>Caract 3</a:t>
                      </a:r>
                    </a:p>
                  </a:txBody>
                  <a:tcPr marL="34290" marR="34290" marT="17145" marB="17145"/>
                </a:tc>
                <a:tc>
                  <a:txBody>
                    <a:bodyPr/>
                    <a:lstStyle/>
                    <a:p>
                      <a:r>
                        <a:rPr lang="en-FR" sz="500"/>
                        <a:t>x</a:t>
                      </a:r>
                    </a:p>
                  </a:txBody>
                  <a:tcPr marL="34290" marR="34290" marT="17145" marB="17145"/>
                </a:tc>
                <a:extLst>
                  <a:ext uri="{0D108BD9-81ED-4DB2-BD59-A6C34878D82A}">
                    <a16:rowId xmlns:a16="http://schemas.microsoft.com/office/drawing/2014/main" val="2085023270"/>
                  </a:ext>
                </a:extLst>
              </a:tr>
              <a:tr h="114300">
                <a:tc>
                  <a:txBody>
                    <a:bodyPr/>
                    <a:lstStyle/>
                    <a:p>
                      <a:r>
                        <a:rPr lang="en-FR" sz="500"/>
                        <a:t>…</a:t>
                      </a:r>
                    </a:p>
                  </a:txBody>
                  <a:tcPr marL="34290" marR="34290" marT="17145" marB="17145"/>
                </a:tc>
                <a:tc>
                  <a:txBody>
                    <a:bodyPr/>
                    <a:lstStyle/>
                    <a:p>
                      <a:r>
                        <a:rPr lang="en-FR" sz="500"/>
                        <a:t>…</a:t>
                      </a:r>
                    </a:p>
                  </a:txBody>
                  <a:tcPr marL="34290" marR="34290" marT="17145" marB="17145"/>
                </a:tc>
                <a:extLst>
                  <a:ext uri="{0D108BD9-81ED-4DB2-BD59-A6C34878D82A}">
                    <a16:rowId xmlns:a16="http://schemas.microsoft.com/office/drawing/2014/main" val="3390778650"/>
                  </a:ext>
                </a:extLst>
              </a:tr>
              <a:tr h="114300">
                <a:tc>
                  <a:txBody>
                    <a:bodyPr/>
                    <a:lstStyle/>
                    <a:p>
                      <a:r>
                        <a:rPr lang="en-FR" sz="500" b="1"/>
                        <a:t>Cible</a:t>
                      </a:r>
                    </a:p>
                  </a:txBody>
                  <a:tcPr marL="34290" marR="34290" marT="17145" marB="17145"/>
                </a:tc>
                <a:tc>
                  <a:txBody>
                    <a:bodyPr/>
                    <a:lstStyle/>
                    <a:p>
                      <a:endParaRPr lang="en-FR" sz="500"/>
                    </a:p>
                  </a:txBody>
                  <a:tcPr marL="34290" marR="34290" marT="17145" marB="17145"/>
                </a:tc>
                <a:extLst>
                  <a:ext uri="{0D108BD9-81ED-4DB2-BD59-A6C34878D82A}">
                    <a16:rowId xmlns:a16="http://schemas.microsoft.com/office/drawing/2014/main" val="2432545591"/>
                  </a:ext>
                </a:extLst>
              </a:tr>
            </a:tbl>
          </a:graphicData>
        </a:graphic>
      </p:graphicFrame>
      <p:sp>
        <p:nvSpPr>
          <p:cNvPr id="36" name="Oval 35">
            <a:extLst>
              <a:ext uri="{FF2B5EF4-FFF2-40B4-BE49-F238E27FC236}">
                <a16:creationId xmlns:a16="http://schemas.microsoft.com/office/drawing/2014/main" id="{912B0927-E9C9-0E41-B36C-D3CBCCA819C5}"/>
              </a:ext>
            </a:extLst>
          </p:cNvPr>
          <p:cNvSpPr/>
          <p:nvPr/>
        </p:nvSpPr>
        <p:spPr>
          <a:xfrm>
            <a:off x="1851216" y="2106723"/>
            <a:ext cx="57150" cy="313774"/>
          </a:xfrm>
          <a:prstGeom prst="ellipse">
            <a:avLst/>
          </a:prstGeom>
          <a:solidFill>
            <a:srgbClr val="00B05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algn="ctr" defTabSz="309563" hangingPunct="0"/>
            <a:endParaRPr lang="en-FR" sz="1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530C6ED-A628-8A4A-814E-602B44A4AC81}"/>
              </a:ext>
            </a:extLst>
          </p:cNvPr>
          <p:cNvSpPr txBox="1"/>
          <p:nvPr/>
        </p:nvSpPr>
        <p:spPr>
          <a:xfrm>
            <a:off x="2278646" y="1845611"/>
            <a:ext cx="495300" cy="1769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algn="ctr" defTabSz="914377" hangingPunct="0"/>
            <a:r>
              <a:rPr lang="en-FR" sz="900">
                <a:solidFill>
                  <a:srgbClr val="5E5E5E"/>
                </a:solidFill>
                <a:sym typeface="Helvetica Neue"/>
              </a:rPr>
              <a:t>…</a:t>
            </a:r>
          </a:p>
        </p:txBody>
      </p:sp>
      <p:graphicFrame>
        <p:nvGraphicFramePr>
          <p:cNvPr id="38" name="Table 6">
            <a:extLst>
              <a:ext uri="{FF2B5EF4-FFF2-40B4-BE49-F238E27FC236}">
                <a16:creationId xmlns:a16="http://schemas.microsoft.com/office/drawing/2014/main" id="{FF0ABDF1-F504-C841-91CC-92BDE6C6D158}"/>
              </a:ext>
            </a:extLst>
          </p:cNvPr>
          <p:cNvGraphicFramePr>
            <a:graphicFrameLocks noGrp="1"/>
          </p:cNvGraphicFramePr>
          <p:nvPr/>
        </p:nvGraphicFramePr>
        <p:xfrm>
          <a:off x="889409" y="2793596"/>
          <a:ext cx="728551" cy="6858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68312">
                  <a:extLst>
                    <a:ext uri="{9D8B030D-6E8A-4147-A177-3AD203B41FA5}">
                      <a16:colId xmlns:a16="http://schemas.microsoft.com/office/drawing/2014/main" val="3713369412"/>
                    </a:ext>
                  </a:extLst>
                </a:gridCol>
                <a:gridCol w="360239">
                  <a:extLst>
                    <a:ext uri="{9D8B030D-6E8A-4147-A177-3AD203B41FA5}">
                      <a16:colId xmlns:a16="http://schemas.microsoft.com/office/drawing/2014/main" val="3277612759"/>
                    </a:ext>
                  </a:extLst>
                </a:gridCol>
              </a:tblGrid>
              <a:tr h="114300">
                <a:tc gridSpan="2">
                  <a:txBody>
                    <a:bodyPr/>
                    <a:lstStyle/>
                    <a:p>
                      <a:r>
                        <a:rPr lang="en-FR" sz="500"/>
                        <a:t>CDA 80 001</a:t>
                      </a:r>
                    </a:p>
                  </a:txBody>
                  <a:tcPr marL="34290" marR="34290" marT="17145" marB="17145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50098222"/>
                  </a:ext>
                </a:extLst>
              </a:tr>
              <a:tr h="114300">
                <a:tc>
                  <a:txBody>
                    <a:bodyPr/>
                    <a:lstStyle/>
                    <a:p>
                      <a:r>
                        <a:rPr lang="en-FR" sz="500"/>
                        <a:t>Caract 1</a:t>
                      </a:r>
                    </a:p>
                  </a:txBody>
                  <a:tcPr marL="34290" marR="34290" marT="17145" marB="17145"/>
                </a:tc>
                <a:tc>
                  <a:txBody>
                    <a:bodyPr/>
                    <a:lstStyle/>
                    <a:p>
                      <a:r>
                        <a:rPr lang="en-FR" sz="500"/>
                        <a:t>x</a:t>
                      </a:r>
                    </a:p>
                  </a:txBody>
                  <a:tcPr marL="34290" marR="34290" marT="17145" marB="17145"/>
                </a:tc>
                <a:extLst>
                  <a:ext uri="{0D108BD9-81ED-4DB2-BD59-A6C34878D82A}">
                    <a16:rowId xmlns:a16="http://schemas.microsoft.com/office/drawing/2014/main" val="3935474396"/>
                  </a:ext>
                </a:extLst>
              </a:tr>
              <a:tr h="114300">
                <a:tc>
                  <a:txBody>
                    <a:bodyPr/>
                    <a:lstStyle/>
                    <a:p>
                      <a:r>
                        <a:rPr lang="en-FR" sz="500"/>
                        <a:t>Caract 2</a:t>
                      </a:r>
                    </a:p>
                  </a:txBody>
                  <a:tcPr marL="34290" marR="34290" marT="17145" marB="17145"/>
                </a:tc>
                <a:tc>
                  <a:txBody>
                    <a:bodyPr/>
                    <a:lstStyle/>
                    <a:p>
                      <a:r>
                        <a:rPr lang="en-FR" sz="500"/>
                        <a:t>x</a:t>
                      </a:r>
                    </a:p>
                  </a:txBody>
                  <a:tcPr marL="34290" marR="34290" marT="17145" marB="17145"/>
                </a:tc>
                <a:extLst>
                  <a:ext uri="{0D108BD9-81ED-4DB2-BD59-A6C34878D82A}">
                    <a16:rowId xmlns:a16="http://schemas.microsoft.com/office/drawing/2014/main" val="1714631573"/>
                  </a:ext>
                </a:extLst>
              </a:tr>
              <a:tr h="114300">
                <a:tc>
                  <a:txBody>
                    <a:bodyPr/>
                    <a:lstStyle/>
                    <a:p>
                      <a:r>
                        <a:rPr lang="en-FR" sz="500"/>
                        <a:t>Caract 3</a:t>
                      </a:r>
                    </a:p>
                  </a:txBody>
                  <a:tcPr marL="34290" marR="34290" marT="17145" marB="17145"/>
                </a:tc>
                <a:tc>
                  <a:txBody>
                    <a:bodyPr/>
                    <a:lstStyle/>
                    <a:p>
                      <a:r>
                        <a:rPr lang="en-FR" sz="500"/>
                        <a:t>x</a:t>
                      </a:r>
                    </a:p>
                  </a:txBody>
                  <a:tcPr marL="34290" marR="34290" marT="17145" marB="17145"/>
                </a:tc>
                <a:extLst>
                  <a:ext uri="{0D108BD9-81ED-4DB2-BD59-A6C34878D82A}">
                    <a16:rowId xmlns:a16="http://schemas.microsoft.com/office/drawing/2014/main" val="2085023270"/>
                  </a:ext>
                </a:extLst>
              </a:tr>
              <a:tr h="114300">
                <a:tc>
                  <a:txBody>
                    <a:bodyPr/>
                    <a:lstStyle/>
                    <a:p>
                      <a:r>
                        <a:rPr lang="en-FR" sz="500"/>
                        <a:t>…</a:t>
                      </a:r>
                    </a:p>
                  </a:txBody>
                  <a:tcPr marL="34290" marR="34290" marT="17145" marB="17145"/>
                </a:tc>
                <a:tc>
                  <a:txBody>
                    <a:bodyPr/>
                    <a:lstStyle/>
                    <a:p>
                      <a:r>
                        <a:rPr lang="en-FR" sz="500"/>
                        <a:t>…</a:t>
                      </a:r>
                    </a:p>
                  </a:txBody>
                  <a:tcPr marL="34290" marR="34290" marT="17145" marB="17145"/>
                </a:tc>
                <a:extLst>
                  <a:ext uri="{0D108BD9-81ED-4DB2-BD59-A6C34878D82A}">
                    <a16:rowId xmlns:a16="http://schemas.microsoft.com/office/drawing/2014/main" val="3390778650"/>
                  </a:ext>
                </a:extLst>
              </a:tr>
              <a:tr h="114300">
                <a:tc>
                  <a:txBody>
                    <a:bodyPr/>
                    <a:lstStyle/>
                    <a:p>
                      <a:r>
                        <a:rPr lang="en-FR" sz="500" b="1"/>
                        <a:t>Cible</a:t>
                      </a:r>
                    </a:p>
                  </a:txBody>
                  <a:tcPr marL="34290" marR="34290" marT="17145" marB="17145"/>
                </a:tc>
                <a:tc>
                  <a:txBody>
                    <a:bodyPr/>
                    <a:lstStyle/>
                    <a:p>
                      <a:endParaRPr lang="en-FR" sz="500"/>
                    </a:p>
                  </a:txBody>
                  <a:tcPr marL="34290" marR="34290" marT="17145" marB="17145"/>
                </a:tc>
                <a:extLst>
                  <a:ext uri="{0D108BD9-81ED-4DB2-BD59-A6C34878D82A}">
                    <a16:rowId xmlns:a16="http://schemas.microsoft.com/office/drawing/2014/main" val="2432545591"/>
                  </a:ext>
                </a:extLst>
              </a:tr>
            </a:tbl>
          </a:graphicData>
        </a:graphic>
      </p:graphicFrame>
      <p:sp>
        <p:nvSpPr>
          <p:cNvPr id="39" name="Oval 38">
            <a:extLst>
              <a:ext uri="{FF2B5EF4-FFF2-40B4-BE49-F238E27FC236}">
                <a16:creationId xmlns:a16="http://schemas.microsoft.com/office/drawing/2014/main" id="{17E4BFB9-1CC8-0142-9944-3FB9E997264B}"/>
              </a:ext>
            </a:extLst>
          </p:cNvPr>
          <p:cNvSpPr/>
          <p:nvPr/>
        </p:nvSpPr>
        <p:spPr>
          <a:xfrm>
            <a:off x="1400175" y="3262768"/>
            <a:ext cx="57150" cy="313774"/>
          </a:xfrm>
          <a:prstGeom prst="ellipse">
            <a:avLst/>
          </a:prstGeom>
          <a:solidFill>
            <a:srgbClr val="FF000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algn="ctr" defTabSz="309563" hangingPunct="0"/>
            <a:endParaRPr lang="en-FR" sz="1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84338FE-CD5C-B549-A0E9-D437A8782574}"/>
              </a:ext>
            </a:extLst>
          </p:cNvPr>
          <p:cNvSpPr/>
          <p:nvPr/>
        </p:nvSpPr>
        <p:spPr>
          <a:xfrm>
            <a:off x="685800" y="3409305"/>
            <a:ext cx="1924051" cy="223138"/>
          </a:xfrm>
          <a:prstGeom prst="rect">
            <a:avLst/>
          </a:prstGeom>
          <a:noFill/>
          <a:ln w="57150" cap="flat">
            <a:solidFill>
              <a:schemeClr val="accent2">
                <a:lumMod val="75000"/>
              </a:scheme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algn="ctr" defTabSz="309563" hangingPunct="0"/>
            <a:endParaRPr lang="en-FR" sz="1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1" name="Table 6">
            <a:extLst>
              <a:ext uri="{FF2B5EF4-FFF2-40B4-BE49-F238E27FC236}">
                <a16:creationId xmlns:a16="http://schemas.microsoft.com/office/drawing/2014/main" id="{807ADB68-38D1-CF4E-80AF-C873AA52A86B}"/>
              </a:ext>
            </a:extLst>
          </p:cNvPr>
          <p:cNvGraphicFramePr>
            <a:graphicFrameLocks noGrp="1"/>
          </p:cNvGraphicFramePr>
          <p:nvPr/>
        </p:nvGraphicFramePr>
        <p:xfrm>
          <a:off x="1795760" y="2793596"/>
          <a:ext cx="728551" cy="6858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68312">
                  <a:extLst>
                    <a:ext uri="{9D8B030D-6E8A-4147-A177-3AD203B41FA5}">
                      <a16:colId xmlns:a16="http://schemas.microsoft.com/office/drawing/2014/main" val="3713369412"/>
                    </a:ext>
                  </a:extLst>
                </a:gridCol>
                <a:gridCol w="360239">
                  <a:extLst>
                    <a:ext uri="{9D8B030D-6E8A-4147-A177-3AD203B41FA5}">
                      <a16:colId xmlns:a16="http://schemas.microsoft.com/office/drawing/2014/main" val="3277612759"/>
                    </a:ext>
                  </a:extLst>
                </a:gridCol>
              </a:tblGrid>
              <a:tr h="114300">
                <a:tc gridSpan="2">
                  <a:txBody>
                    <a:bodyPr/>
                    <a:lstStyle/>
                    <a:p>
                      <a:r>
                        <a:rPr lang="en-FR" sz="500"/>
                        <a:t>CDA 80 002</a:t>
                      </a:r>
                    </a:p>
                  </a:txBody>
                  <a:tcPr marL="34290" marR="34290" marT="17145" marB="17145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50098222"/>
                  </a:ext>
                </a:extLst>
              </a:tr>
              <a:tr h="114300">
                <a:tc>
                  <a:txBody>
                    <a:bodyPr/>
                    <a:lstStyle/>
                    <a:p>
                      <a:r>
                        <a:rPr lang="en-FR" sz="500"/>
                        <a:t>Caract 1</a:t>
                      </a:r>
                    </a:p>
                  </a:txBody>
                  <a:tcPr marL="34290" marR="34290" marT="17145" marB="17145"/>
                </a:tc>
                <a:tc>
                  <a:txBody>
                    <a:bodyPr/>
                    <a:lstStyle/>
                    <a:p>
                      <a:r>
                        <a:rPr lang="en-FR" sz="500"/>
                        <a:t>x</a:t>
                      </a:r>
                    </a:p>
                  </a:txBody>
                  <a:tcPr marL="34290" marR="34290" marT="17145" marB="17145"/>
                </a:tc>
                <a:extLst>
                  <a:ext uri="{0D108BD9-81ED-4DB2-BD59-A6C34878D82A}">
                    <a16:rowId xmlns:a16="http://schemas.microsoft.com/office/drawing/2014/main" val="3935474396"/>
                  </a:ext>
                </a:extLst>
              </a:tr>
              <a:tr h="114300">
                <a:tc>
                  <a:txBody>
                    <a:bodyPr/>
                    <a:lstStyle/>
                    <a:p>
                      <a:r>
                        <a:rPr lang="en-FR" sz="500"/>
                        <a:t>Caract 2</a:t>
                      </a:r>
                    </a:p>
                  </a:txBody>
                  <a:tcPr marL="34290" marR="34290" marT="17145" marB="17145"/>
                </a:tc>
                <a:tc>
                  <a:txBody>
                    <a:bodyPr/>
                    <a:lstStyle/>
                    <a:p>
                      <a:r>
                        <a:rPr lang="en-FR" sz="500"/>
                        <a:t>x</a:t>
                      </a:r>
                    </a:p>
                  </a:txBody>
                  <a:tcPr marL="34290" marR="34290" marT="17145" marB="17145"/>
                </a:tc>
                <a:extLst>
                  <a:ext uri="{0D108BD9-81ED-4DB2-BD59-A6C34878D82A}">
                    <a16:rowId xmlns:a16="http://schemas.microsoft.com/office/drawing/2014/main" val="1714631573"/>
                  </a:ext>
                </a:extLst>
              </a:tr>
              <a:tr h="114300">
                <a:tc>
                  <a:txBody>
                    <a:bodyPr/>
                    <a:lstStyle/>
                    <a:p>
                      <a:r>
                        <a:rPr lang="en-FR" sz="500"/>
                        <a:t>Caract 3</a:t>
                      </a:r>
                    </a:p>
                  </a:txBody>
                  <a:tcPr marL="34290" marR="34290" marT="17145" marB="17145"/>
                </a:tc>
                <a:tc>
                  <a:txBody>
                    <a:bodyPr/>
                    <a:lstStyle/>
                    <a:p>
                      <a:r>
                        <a:rPr lang="en-FR" sz="500"/>
                        <a:t>x</a:t>
                      </a:r>
                    </a:p>
                  </a:txBody>
                  <a:tcPr marL="34290" marR="34290" marT="17145" marB="17145"/>
                </a:tc>
                <a:extLst>
                  <a:ext uri="{0D108BD9-81ED-4DB2-BD59-A6C34878D82A}">
                    <a16:rowId xmlns:a16="http://schemas.microsoft.com/office/drawing/2014/main" val="2085023270"/>
                  </a:ext>
                </a:extLst>
              </a:tr>
              <a:tr h="114300">
                <a:tc>
                  <a:txBody>
                    <a:bodyPr/>
                    <a:lstStyle/>
                    <a:p>
                      <a:r>
                        <a:rPr lang="en-FR" sz="500"/>
                        <a:t>…</a:t>
                      </a:r>
                    </a:p>
                  </a:txBody>
                  <a:tcPr marL="34290" marR="34290" marT="17145" marB="17145"/>
                </a:tc>
                <a:tc>
                  <a:txBody>
                    <a:bodyPr/>
                    <a:lstStyle/>
                    <a:p>
                      <a:r>
                        <a:rPr lang="en-FR" sz="500"/>
                        <a:t>…</a:t>
                      </a:r>
                    </a:p>
                  </a:txBody>
                  <a:tcPr marL="34290" marR="34290" marT="17145" marB="17145"/>
                </a:tc>
                <a:extLst>
                  <a:ext uri="{0D108BD9-81ED-4DB2-BD59-A6C34878D82A}">
                    <a16:rowId xmlns:a16="http://schemas.microsoft.com/office/drawing/2014/main" val="3390778650"/>
                  </a:ext>
                </a:extLst>
              </a:tr>
              <a:tr h="114300">
                <a:tc>
                  <a:txBody>
                    <a:bodyPr/>
                    <a:lstStyle/>
                    <a:p>
                      <a:r>
                        <a:rPr lang="en-FR" sz="500" b="1"/>
                        <a:t>Cible</a:t>
                      </a:r>
                    </a:p>
                  </a:txBody>
                  <a:tcPr marL="34290" marR="34290" marT="17145" marB="17145"/>
                </a:tc>
                <a:tc>
                  <a:txBody>
                    <a:bodyPr/>
                    <a:lstStyle/>
                    <a:p>
                      <a:endParaRPr lang="en-FR" sz="500"/>
                    </a:p>
                  </a:txBody>
                  <a:tcPr marL="34290" marR="34290" marT="17145" marB="17145"/>
                </a:tc>
                <a:extLst>
                  <a:ext uri="{0D108BD9-81ED-4DB2-BD59-A6C34878D82A}">
                    <a16:rowId xmlns:a16="http://schemas.microsoft.com/office/drawing/2014/main" val="2432545591"/>
                  </a:ext>
                </a:extLst>
              </a:tr>
            </a:tbl>
          </a:graphicData>
        </a:graphic>
      </p:graphicFrame>
      <p:sp>
        <p:nvSpPr>
          <p:cNvPr id="42" name="Oval 41">
            <a:extLst>
              <a:ext uri="{FF2B5EF4-FFF2-40B4-BE49-F238E27FC236}">
                <a16:creationId xmlns:a16="http://schemas.microsoft.com/office/drawing/2014/main" id="{C06F159B-1158-0841-ACA0-FCFF0726C0FD}"/>
              </a:ext>
            </a:extLst>
          </p:cNvPr>
          <p:cNvSpPr/>
          <p:nvPr/>
        </p:nvSpPr>
        <p:spPr>
          <a:xfrm>
            <a:off x="2306526" y="3262768"/>
            <a:ext cx="57150" cy="313774"/>
          </a:xfrm>
          <a:prstGeom prst="ellipse">
            <a:avLst/>
          </a:prstGeom>
          <a:solidFill>
            <a:srgbClr val="00B05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algn="ctr" defTabSz="309563" hangingPunct="0"/>
            <a:endParaRPr lang="en-FR" sz="1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43" name="Table 6">
            <a:extLst>
              <a:ext uri="{FF2B5EF4-FFF2-40B4-BE49-F238E27FC236}">
                <a16:creationId xmlns:a16="http://schemas.microsoft.com/office/drawing/2014/main" id="{9DF7EEE1-27D5-0647-8389-D1C6E84EC7C0}"/>
              </a:ext>
            </a:extLst>
          </p:cNvPr>
          <p:cNvGraphicFramePr>
            <a:graphicFrameLocks noGrp="1"/>
          </p:cNvGraphicFramePr>
          <p:nvPr/>
        </p:nvGraphicFramePr>
        <p:xfrm>
          <a:off x="889409" y="3628999"/>
          <a:ext cx="728551" cy="6858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68312">
                  <a:extLst>
                    <a:ext uri="{9D8B030D-6E8A-4147-A177-3AD203B41FA5}">
                      <a16:colId xmlns:a16="http://schemas.microsoft.com/office/drawing/2014/main" val="3713369412"/>
                    </a:ext>
                  </a:extLst>
                </a:gridCol>
                <a:gridCol w="360239">
                  <a:extLst>
                    <a:ext uri="{9D8B030D-6E8A-4147-A177-3AD203B41FA5}">
                      <a16:colId xmlns:a16="http://schemas.microsoft.com/office/drawing/2014/main" val="3277612759"/>
                    </a:ext>
                  </a:extLst>
                </a:gridCol>
              </a:tblGrid>
              <a:tr h="114300">
                <a:tc gridSpan="2">
                  <a:txBody>
                    <a:bodyPr/>
                    <a:lstStyle/>
                    <a:p>
                      <a:r>
                        <a:rPr lang="en-FR" sz="500"/>
                        <a:t>CDA 80 003</a:t>
                      </a:r>
                    </a:p>
                  </a:txBody>
                  <a:tcPr marL="34290" marR="34290" marT="17145" marB="17145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50098222"/>
                  </a:ext>
                </a:extLst>
              </a:tr>
              <a:tr h="114300">
                <a:tc>
                  <a:txBody>
                    <a:bodyPr/>
                    <a:lstStyle/>
                    <a:p>
                      <a:r>
                        <a:rPr lang="en-FR" sz="500"/>
                        <a:t>Caract 1</a:t>
                      </a:r>
                    </a:p>
                  </a:txBody>
                  <a:tcPr marL="34290" marR="34290" marT="17145" marB="17145"/>
                </a:tc>
                <a:tc>
                  <a:txBody>
                    <a:bodyPr/>
                    <a:lstStyle/>
                    <a:p>
                      <a:r>
                        <a:rPr lang="en-FR" sz="500"/>
                        <a:t>x</a:t>
                      </a:r>
                    </a:p>
                  </a:txBody>
                  <a:tcPr marL="34290" marR="34290" marT="17145" marB="17145"/>
                </a:tc>
                <a:extLst>
                  <a:ext uri="{0D108BD9-81ED-4DB2-BD59-A6C34878D82A}">
                    <a16:rowId xmlns:a16="http://schemas.microsoft.com/office/drawing/2014/main" val="3935474396"/>
                  </a:ext>
                </a:extLst>
              </a:tr>
              <a:tr h="114300">
                <a:tc>
                  <a:txBody>
                    <a:bodyPr/>
                    <a:lstStyle/>
                    <a:p>
                      <a:r>
                        <a:rPr lang="en-FR" sz="500"/>
                        <a:t>Caract 2</a:t>
                      </a:r>
                    </a:p>
                  </a:txBody>
                  <a:tcPr marL="34290" marR="34290" marT="17145" marB="17145"/>
                </a:tc>
                <a:tc>
                  <a:txBody>
                    <a:bodyPr/>
                    <a:lstStyle/>
                    <a:p>
                      <a:r>
                        <a:rPr lang="en-FR" sz="500"/>
                        <a:t>x</a:t>
                      </a:r>
                    </a:p>
                  </a:txBody>
                  <a:tcPr marL="34290" marR="34290" marT="17145" marB="17145"/>
                </a:tc>
                <a:extLst>
                  <a:ext uri="{0D108BD9-81ED-4DB2-BD59-A6C34878D82A}">
                    <a16:rowId xmlns:a16="http://schemas.microsoft.com/office/drawing/2014/main" val="1714631573"/>
                  </a:ext>
                </a:extLst>
              </a:tr>
              <a:tr h="114300">
                <a:tc>
                  <a:txBody>
                    <a:bodyPr/>
                    <a:lstStyle/>
                    <a:p>
                      <a:r>
                        <a:rPr lang="en-FR" sz="500"/>
                        <a:t>Caract 3</a:t>
                      </a:r>
                    </a:p>
                  </a:txBody>
                  <a:tcPr marL="34290" marR="34290" marT="17145" marB="17145"/>
                </a:tc>
                <a:tc>
                  <a:txBody>
                    <a:bodyPr/>
                    <a:lstStyle/>
                    <a:p>
                      <a:r>
                        <a:rPr lang="en-FR" sz="500"/>
                        <a:t>x</a:t>
                      </a:r>
                    </a:p>
                  </a:txBody>
                  <a:tcPr marL="34290" marR="34290" marT="17145" marB="17145"/>
                </a:tc>
                <a:extLst>
                  <a:ext uri="{0D108BD9-81ED-4DB2-BD59-A6C34878D82A}">
                    <a16:rowId xmlns:a16="http://schemas.microsoft.com/office/drawing/2014/main" val="2085023270"/>
                  </a:ext>
                </a:extLst>
              </a:tr>
              <a:tr h="114300">
                <a:tc>
                  <a:txBody>
                    <a:bodyPr/>
                    <a:lstStyle/>
                    <a:p>
                      <a:r>
                        <a:rPr lang="en-FR" sz="500"/>
                        <a:t>…</a:t>
                      </a:r>
                    </a:p>
                  </a:txBody>
                  <a:tcPr marL="34290" marR="34290" marT="17145" marB="17145"/>
                </a:tc>
                <a:tc>
                  <a:txBody>
                    <a:bodyPr/>
                    <a:lstStyle/>
                    <a:p>
                      <a:r>
                        <a:rPr lang="en-FR" sz="500"/>
                        <a:t>…</a:t>
                      </a:r>
                    </a:p>
                  </a:txBody>
                  <a:tcPr marL="34290" marR="34290" marT="17145" marB="17145"/>
                </a:tc>
                <a:extLst>
                  <a:ext uri="{0D108BD9-81ED-4DB2-BD59-A6C34878D82A}">
                    <a16:rowId xmlns:a16="http://schemas.microsoft.com/office/drawing/2014/main" val="3390778650"/>
                  </a:ext>
                </a:extLst>
              </a:tr>
              <a:tr h="114300">
                <a:tc>
                  <a:txBody>
                    <a:bodyPr/>
                    <a:lstStyle/>
                    <a:p>
                      <a:r>
                        <a:rPr lang="en-FR" sz="500" b="1"/>
                        <a:t>Cible</a:t>
                      </a:r>
                    </a:p>
                  </a:txBody>
                  <a:tcPr marL="34290" marR="34290" marT="17145" marB="17145"/>
                </a:tc>
                <a:tc>
                  <a:txBody>
                    <a:bodyPr/>
                    <a:lstStyle/>
                    <a:p>
                      <a:endParaRPr lang="en-FR" sz="500"/>
                    </a:p>
                  </a:txBody>
                  <a:tcPr marL="34290" marR="34290" marT="17145" marB="17145"/>
                </a:tc>
                <a:extLst>
                  <a:ext uri="{0D108BD9-81ED-4DB2-BD59-A6C34878D82A}">
                    <a16:rowId xmlns:a16="http://schemas.microsoft.com/office/drawing/2014/main" val="2432545591"/>
                  </a:ext>
                </a:extLst>
              </a:tr>
            </a:tbl>
          </a:graphicData>
        </a:graphic>
      </p:graphicFrame>
      <p:sp>
        <p:nvSpPr>
          <p:cNvPr id="44" name="Oval 43">
            <a:extLst>
              <a:ext uri="{FF2B5EF4-FFF2-40B4-BE49-F238E27FC236}">
                <a16:creationId xmlns:a16="http://schemas.microsoft.com/office/drawing/2014/main" id="{D60CB20F-FFF8-2745-99F7-483F65D8E8B2}"/>
              </a:ext>
            </a:extLst>
          </p:cNvPr>
          <p:cNvSpPr/>
          <p:nvPr/>
        </p:nvSpPr>
        <p:spPr>
          <a:xfrm>
            <a:off x="1400175" y="4098171"/>
            <a:ext cx="57150" cy="313774"/>
          </a:xfrm>
          <a:prstGeom prst="ellipse">
            <a:avLst/>
          </a:prstGeom>
          <a:solidFill>
            <a:srgbClr val="FFC00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algn="ctr" defTabSz="309563" hangingPunct="0"/>
            <a:endParaRPr lang="en-FR" sz="1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D4BA0935-F29E-1841-9765-9F2EFA78A9D7}"/>
              </a:ext>
            </a:extLst>
          </p:cNvPr>
          <p:cNvSpPr txBox="1"/>
          <p:nvPr/>
        </p:nvSpPr>
        <p:spPr>
          <a:xfrm>
            <a:off x="1804000" y="3857464"/>
            <a:ext cx="495300" cy="1769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algn="ctr" defTabSz="914377" hangingPunct="0"/>
            <a:r>
              <a:rPr lang="en-FR" sz="900">
                <a:solidFill>
                  <a:srgbClr val="5E5E5E"/>
                </a:solidFill>
                <a:sym typeface="Helvetica Neue"/>
              </a:rPr>
              <a:t>…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47998FBA-7028-1844-8409-03B9AE218E50}"/>
              </a:ext>
            </a:extLst>
          </p:cNvPr>
          <p:cNvSpPr txBox="1"/>
          <p:nvPr/>
        </p:nvSpPr>
        <p:spPr>
          <a:xfrm>
            <a:off x="739174" y="581372"/>
            <a:ext cx="1758950" cy="14234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algn="ctr" defTabSz="914377" hangingPunct="0"/>
            <a:r>
              <a:rPr lang="fr-FR" sz="675" dirty="0">
                <a:solidFill>
                  <a:srgbClr val="5E5E5E"/>
                </a:solidFill>
                <a:sym typeface="Helvetica Neue"/>
              </a:rPr>
              <a:t>Training set</a:t>
            </a:r>
            <a:endParaRPr lang="en-FR" sz="675" dirty="0">
              <a:solidFill>
                <a:srgbClr val="5E5E5E"/>
              </a:solidFill>
              <a:sym typeface="Helvetica Neue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85B5367D-EE3D-8941-BDBA-7858B14BB16E}"/>
              </a:ext>
            </a:extLst>
          </p:cNvPr>
          <p:cNvSpPr txBox="1"/>
          <p:nvPr/>
        </p:nvSpPr>
        <p:spPr>
          <a:xfrm>
            <a:off x="765360" y="2555767"/>
            <a:ext cx="1758950" cy="14234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algn="ctr" defTabSz="914377" hangingPunct="0"/>
            <a:r>
              <a:rPr lang="fr-FR" sz="675" dirty="0">
                <a:solidFill>
                  <a:srgbClr val="5E5E5E"/>
                </a:solidFill>
                <a:sym typeface="Helvetica Neue"/>
              </a:rPr>
              <a:t>Test set</a:t>
            </a:r>
            <a:endParaRPr lang="en-FR" sz="675" dirty="0">
              <a:solidFill>
                <a:srgbClr val="5E5E5E"/>
              </a:solidFill>
              <a:sym typeface="Helvetica Neue"/>
            </a:endParaRPr>
          </a:p>
        </p:txBody>
      </p:sp>
      <p:pic>
        <p:nvPicPr>
          <p:cNvPr id="28" name="Graphic 27" descr="Gears with solid fill">
            <a:extLst>
              <a:ext uri="{FF2B5EF4-FFF2-40B4-BE49-F238E27FC236}">
                <a16:creationId xmlns:a16="http://schemas.microsoft.com/office/drawing/2014/main" id="{D1D2506F-F949-854F-8670-5313563A9BB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5538900" y="1092467"/>
            <a:ext cx="933450" cy="933450"/>
          </a:xfrm>
          <a:prstGeom prst="rect">
            <a:avLst/>
          </a:prstGeom>
        </p:spPr>
      </p:pic>
      <p:sp>
        <p:nvSpPr>
          <p:cNvPr id="58" name="Rectangle 57">
            <a:extLst>
              <a:ext uri="{FF2B5EF4-FFF2-40B4-BE49-F238E27FC236}">
                <a16:creationId xmlns:a16="http://schemas.microsoft.com/office/drawing/2014/main" id="{72AE0EED-73BF-064E-816E-B19716178BA6}"/>
              </a:ext>
            </a:extLst>
          </p:cNvPr>
          <p:cNvSpPr/>
          <p:nvPr/>
        </p:nvSpPr>
        <p:spPr>
          <a:xfrm>
            <a:off x="3657600" y="1485813"/>
            <a:ext cx="1403350" cy="153888"/>
          </a:xfrm>
          <a:prstGeom prst="rect">
            <a:avLst/>
          </a:prstGeom>
          <a:noFill/>
          <a:ln w="38100" cap="flat">
            <a:solidFill>
              <a:schemeClr val="accent1">
                <a:lumMod val="75000"/>
              </a:scheme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309563" hangingPunct="0"/>
            <a:r>
              <a:rPr lang="fr-FR" sz="750" dirty="0" err="1">
                <a:solidFill>
                  <a:schemeClr val="tx1">
                    <a:lumMod val="50000"/>
                  </a:schemeClr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rPr>
              <a:t>Supervised</a:t>
            </a:r>
            <a:r>
              <a:rPr lang="fr-FR" sz="750" dirty="0">
                <a:solidFill>
                  <a:schemeClr val="tx1">
                    <a:lumMod val="50000"/>
                  </a:schemeClr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rPr>
              <a:t> </a:t>
            </a:r>
            <a:r>
              <a:rPr lang="fr-FR" sz="750" dirty="0" err="1">
                <a:solidFill>
                  <a:schemeClr val="tx1">
                    <a:lumMod val="50000"/>
                  </a:schemeClr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rPr>
              <a:t>algorithm</a:t>
            </a:r>
            <a:endParaRPr lang="en-FR" sz="750" dirty="0">
              <a:solidFill>
                <a:schemeClr val="tx1">
                  <a:lumMod val="50000"/>
                </a:schemeClr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344CB6B7-4113-D84E-9389-C945AC9235FF}"/>
              </a:ext>
            </a:extLst>
          </p:cNvPr>
          <p:cNvCxnSpPr>
            <a:stCxn id="23" idx="3"/>
            <a:endCxn id="58" idx="1"/>
          </p:cNvCxnSpPr>
          <p:nvPr/>
        </p:nvCxnSpPr>
        <p:spPr>
          <a:xfrm flipV="1">
            <a:off x="2983593" y="1562757"/>
            <a:ext cx="674007" cy="2516"/>
          </a:xfrm>
          <a:prstGeom prst="straightConnector1">
            <a:avLst/>
          </a:prstGeom>
          <a:noFill/>
          <a:ln w="25400" cap="flat">
            <a:solidFill>
              <a:schemeClr val="accent1">
                <a:lumMod val="75000"/>
              </a:schemeClr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6D37AA5E-FAF4-AA4B-9EAF-8A4264639342}"/>
              </a:ext>
            </a:extLst>
          </p:cNvPr>
          <p:cNvCxnSpPr>
            <a:stCxn id="58" idx="3"/>
            <a:endCxn id="28" idx="1"/>
          </p:cNvCxnSpPr>
          <p:nvPr/>
        </p:nvCxnSpPr>
        <p:spPr>
          <a:xfrm flipV="1">
            <a:off x="5060950" y="1559192"/>
            <a:ext cx="477950" cy="3565"/>
          </a:xfrm>
          <a:prstGeom prst="straightConnector1">
            <a:avLst/>
          </a:prstGeom>
          <a:noFill/>
          <a:ln w="25400" cap="flat">
            <a:solidFill>
              <a:schemeClr val="accent1">
                <a:lumMod val="75000"/>
              </a:schemeClr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3" name="TextBox 62">
            <a:extLst>
              <a:ext uri="{FF2B5EF4-FFF2-40B4-BE49-F238E27FC236}">
                <a16:creationId xmlns:a16="http://schemas.microsoft.com/office/drawing/2014/main" id="{22615635-DB7D-C843-A037-3E79DFD961EC}"/>
              </a:ext>
            </a:extLst>
          </p:cNvPr>
          <p:cNvSpPr txBox="1"/>
          <p:nvPr/>
        </p:nvSpPr>
        <p:spPr>
          <a:xfrm>
            <a:off x="5534593" y="1984883"/>
            <a:ext cx="878447" cy="1769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algn="ctr" defTabSz="914377" hangingPunct="0"/>
            <a:r>
              <a:rPr lang="fr-FR" sz="900" dirty="0" err="1">
                <a:solidFill>
                  <a:srgbClr val="5E5E5E"/>
                </a:solidFill>
                <a:sym typeface="Helvetica Neue"/>
              </a:rPr>
              <a:t>Trained</a:t>
            </a:r>
            <a:r>
              <a:rPr lang="fr-FR" sz="900" dirty="0">
                <a:solidFill>
                  <a:srgbClr val="5E5E5E"/>
                </a:solidFill>
                <a:sym typeface="Helvetica Neue"/>
              </a:rPr>
              <a:t> </a:t>
            </a:r>
            <a:r>
              <a:rPr lang="fr-FR" sz="900" dirty="0" err="1">
                <a:solidFill>
                  <a:srgbClr val="5E5E5E"/>
                </a:solidFill>
                <a:sym typeface="Helvetica Neue"/>
              </a:rPr>
              <a:t>algorithm</a:t>
            </a:r>
            <a:endParaRPr lang="en-FR" sz="900" dirty="0">
              <a:solidFill>
                <a:srgbClr val="5E5E5E"/>
              </a:solidFill>
              <a:sym typeface="Helvetica Neue"/>
            </a:endParaRP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E5629479-3EAA-7C49-B34F-66A47CE8B4B5}"/>
              </a:ext>
            </a:extLst>
          </p:cNvPr>
          <p:cNvSpPr/>
          <p:nvPr/>
        </p:nvSpPr>
        <p:spPr>
          <a:xfrm>
            <a:off x="7321549" y="3426070"/>
            <a:ext cx="1574800" cy="223138"/>
          </a:xfrm>
          <a:prstGeom prst="rect">
            <a:avLst/>
          </a:prstGeom>
          <a:noFill/>
          <a:ln w="38100" cap="flat">
            <a:solidFill>
              <a:schemeClr val="accent2">
                <a:lumMod val="75000"/>
              </a:scheme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algn="ctr" defTabSz="309563" hangingPunct="0"/>
            <a:r>
              <a:rPr lang="fr-FR" sz="1200" dirty="0">
                <a:solidFill>
                  <a:schemeClr val="tx1">
                    <a:lumMod val="50000"/>
                  </a:schemeClr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rPr>
              <a:t>Performance </a:t>
            </a:r>
            <a:r>
              <a:rPr lang="fr-FR" sz="1200" dirty="0" err="1">
                <a:solidFill>
                  <a:schemeClr val="tx1">
                    <a:lumMod val="50000"/>
                  </a:schemeClr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rPr>
              <a:t>metrics</a:t>
            </a:r>
            <a:endParaRPr lang="en-FR" sz="1200" dirty="0">
              <a:solidFill>
                <a:schemeClr val="tx1">
                  <a:lumMod val="50000"/>
                </a:schemeClr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cxnSp>
        <p:nvCxnSpPr>
          <p:cNvPr id="135" name="Straight Arrow Connector 134">
            <a:extLst>
              <a:ext uri="{FF2B5EF4-FFF2-40B4-BE49-F238E27FC236}">
                <a16:creationId xmlns:a16="http://schemas.microsoft.com/office/drawing/2014/main" id="{BFC783C1-B4E6-A441-9031-CFC8E15979D1}"/>
              </a:ext>
            </a:extLst>
          </p:cNvPr>
          <p:cNvCxnSpPr>
            <a:stCxn id="40" idx="3"/>
            <a:endCxn id="131" idx="1"/>
          </p:cNvCxnSpPr>
          <p:nvPr/>
        </p:nvCxnSpPr>
        <p:spPr>
          <a:xfrm>
            <a:off x="2609851" y="3520874"/>
            <a:ext cx="4711698" cy="16765"/>
          </a:xfrm>
          <a:prstGeom prst="straightConnector1">
            <a:avLst/>
          </a:prstGeom>
          <a:noFill/>
          <a:ln w="25400" cap="flat">
            <a:solidFill>
              <a:schemeClr val="accent2">
                <a:lumMod val="75000"/>
              </a:schemeClr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37" name="Elbow Connector 136">
            <a:extLst>
              <a:ext uri="{FF2B5EF4-FFF2-40B4-BE49-F238E27FC236}">
                <a16:creationId xmlns:a16="http://schemas.microsoft.com/office/drawing/2014/main" id="{F669D829-365C-2C46-B269-F563CDE2D29C}"/>
              </a:ext>
            </a:extLst>
          </p:cNvPr>
          <p:cNvCxnSpPr>
            <a:stCxn id="63" idx="2"/>
            <a:endCxn id="131" idx="1"/>
          </p:cNvCxnSpPr>
          <p:nvPr/>
        </p:nvCxnSpPr>
        <p:spPr>
          <a:xfrm rot="16200000" flipH="1">
            <a:off x="5959791" y="2175881"/>
            <a:ext cx="1375784" cy="1347732"/>
          </a:xfrm>
          <a:prstGeom prst="bentConnector2">
            <a:avLst/>
          </a:prstGeom>
          <a:noFill/>
          <a:ln w="25400" cap="flat">
            <a:solidFill>
              <a:schemeClr val="accent1">
                <a:lumMod val="50000"/>
              </a:schemeClr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44413247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23" grpId="0" animBg="1"/>
      <p:bldP spid="24" grpId="0"/>
      <p:bldP spid="30" grpId="0" animBg="1"/>
      <p:bldP spid="32" grpId="0" animBg="1"/>
      <p:bldP spid="34" grpId="0" animBg="1"/>
      <p:bldP spid="36" grpId="0" animBg="1"/>
      <p:bldP spid="25" grpId="0"/>
      <p:bldP spid="39" grpId="0" animBg="1"/>
      <p:bldP spid="40" grpId="0" animBg="1"/>
      <p:bldP spid="42" grpId="0" animBg="1"/>
      <p:bldP spid="44" grpId="0" animBg="1"/>
      <p:bldP spid="49" grpId="0"/>
      <p:bldP spid="50" grpId="0"/>
      <p:bldP spid="51" grpId="0"/>
      <p:bldP spid="58" grpId="0" animBg="1"/>
      <p:bldP spid="63" grpId="0"/>
      <p:bldP spid="131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0109" y="2175058"/>
            <a:ext cx="399887" cy="463404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2343830" y="1805875"/>
            <a:ext cx="1103691" cy="393894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750" dirty="0"/>
              <a:t>Data </a:t>
            </a:r>
            <a:r>
              <a:rPr lang="fr-FR" sz="750" dirty="0" err="1"/>
              <a:t>preparation</a:t>
            </a:r>
            <a:endParaRPr lang="fr-FR" sz="750" dirty="0"/>
          </a:p>
        </p:txBody>
      </p:sp>
      <p:sp>
        <p:nvSpPr>
          <p:cNvPr id="15" name="Rectangle 14"/>
          <p:cNvSpPr/>
          <p:nvPr/>
        </p:nvSpPr>
        <p:spPr>
          <a:xfrm>
            <a:off x="4447946" y="1805875"/>
            <a:ext cx="1103691" cy="393894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dirty="0"/>
              <a:t>Learning</a:t>
            </a:r>
          </a:p>
        </p:txBody>
      </p:sp>
      <p:sp>
        <p:nvSpPr>
          <p:cNvPr id="18" name="Rectangle 17"/>
          <p:cNvSpPr/>
          <p:nvPr/>
        </p:nvSpPr>
        <p:spPr>
          <a:xfrm>
            <a:off x="2343830" y="2609016"/>
            <a:ext cx="1103691" cy="393894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750" dirty="0"/>
              <a:t>Data </a:t>
            </a:r>
            <a:r>
              <a:rPr lang="fr-FR" sz="750" dirty="0" err="1"/>
              <a:t>preparation</a:t>
            </a:r>
            <a:endParaRPr lang="fr-FR" sz="750" dirty="0"/>
          </a:p>
        </p:txBody>
      </p:sp>
      <p:sp>
        <p:nvSpPr>
          <p:cNvPr id="33" name="ZoneTexte 32"/>
          <p:cNvSpPr txBox="1"/>
          <p:nvPr/>
        </p:nvSpPr>
        <p:spPr>
          <a:xfrm>
            <a:off x="1266288" y="2887211"/>
            <a:ext cx="1026230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750" dirty="0"/>
              <a:t>New </a:t>
            </a:r>
            <a:r>
              <a:rPr lang="fr-FR" sz="750" dirty="0" err="1"/>
              <a:t>orders</a:t>
            </a:r>
            <a:endParaRPr lang="fr-FR" sz="750" dirty="0"/>
          </a:p>
        </p:txBody>
      </p:sp>
      <p:sp>
        <p:nvSpPr>
          <p:cNvPr id="38" name="Rectangle 37"/>
          <p:cNvSpPr/>
          <p:nvPr/>
        </p:nvSpPr>
        <p:spPr>
          <a:xfrm>
            <a:off x="1265957" y="1601809"/>
            <a:ext cx="5730219" cy="755813"/>
          </a:xfrm>
          <a:prstGeom prst="rect">
            <a:avLst/>
          </a:prstGeom>
          <a:noFill/>
          <a:ln>
            <a:solidFill>
              <a:schemeClr val="tx1">
                <a:lumMod val="40000"/>
                <a:lumOff val="6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40" name="Rectangle 39"/>
          <p:cNvSpPr/>
          <p:nvPr/>
        </p:nvSpPr>
        <p:spPr>
          <a:xfrm>
            <a:off x="1265957" y="2461123"/>
            <a:ext cx="5730219" cy="755813"/>
          </a:xfrm>
          <a:prstGeom prst="rect">
            <a:avLst/>
          </a:prstGeom>
          <a:noFill/>
          <a:ln>
            <a:solidFill>
              <a:schemeClr val="tx1">
                <a:lumMod val="40000"/>
                <a:lumOff val="6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4" name="Flèche droite 13"/>
          <p:cNvSpPr/>
          <p:nvPr/>
        </p:nvSpPr>
        <p:spPr>
          <a:xfrm>
            <a:off x="3518852" y="1924531"/>
            <a:ext cx="857761" cy="98473"/>
          </a:xfrm>
          <a:prstGeom prst="right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6" name="Flèche droite 15"/>
          <p:cNvSpPr/>
          <p:nvPr/>
        </p:nvSpPr>
        <p:spPr>
          <a:xfrm>
            <a:off x="5622968" y="1924531"/>
            <a:ext cx="857761" cy="98473"/>
          </a:xfrm>
          <a:prstGeom prst="right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2061" y="1830587"/>
            <a:ext cx="347711" cy="335783"/>
          </a:xfrm>
          <a:prstGeom prst="rect">
            <a:avLst/>
          </a:prstGeom>
        </p:spPr>
      </p:pic>
      <p:sp>
        <p:nvSpPr>
          <p:cNvPr id="19" name="Flèche droite 18"/>
          <p:cNvSpPr/>
          <p:nvPr/>
        </p:nvSpPr>
        <p:spPr>
          <a:xfrm>
            <a:off x="3518852" y="2751900"/>
            <a:ext cx="857761" cy="98473"/>
          </a:xfrm>
          <a:prstGeom prst="rightArrow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1" name="Rectangle 20"/>
          <p:cNvSpPr/>
          <p:nvPr/>
        </p:nvSpPr>
        <p:spPr>
          <a:xfrm>
            <a:off x="4447946" y="2604189"/>
            <a:ext cx="1103691" cy="393894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dirty="0" err="1"/>
              <a:t>Prediction</a:t>
            </a:r>
            <a:r>
              <a:rPr lang="fr-FR" sz="1000" dirty="0"/>
              <a:t> and </a:t>
            </a:r>
            <a:r>
              <a:rPr lang="fr-FR" sz="1000" dirty="0" err="1"/>
              <a:t>explanation</a:t>
            </a:r>
            <a:endParaRPr lang="fr-FR" sz="1000" dirty="0"/>
          </a:p>
        </p:txBody>
      </p:sp>
      <p:sp>
        <p:nvSpPr>
          <p:cNvPr id="22" name="Flèche droite 21"/>
          <p:cNvSpPr/>
          <p:nvPr/>
        </p:nvSpPr>
        <p:spPr>
          <a:xfrm>
            <a:off x="5622968" y="2751899"/>
            <a:ext cx="857761" cy="98473"/>
          </a:xfrm>
          <a:prstGeom prst="rightArrow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7" name="Flèche à angle droit 16"/>
          <p:cNvSpPr/>
          <p:nvPr/>
        </p:nvSpPr>
        <p:spPr>
          <a:xfrm rot="5400000">
            <a:off x="1692716" y="2275686"/>
            <a:ext cx="201776" cy="962082"/>
          </a:xfrm>
          <a:prstGeom prst="bentUpArrow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4" name="Flèche à angle droit 23"/>
          <p:cNvSpPr/>
          <p:nvPr/>
        </p:nvSpPr>
        <p:spPr>
          <a:xfrm rot="16200000" flipV="1">
            <a:off x="1690568" y="1544377"/>
            <a:ext cx="201776" cy="962082"/>
          </a:xfrm>
          <a:prstGeom prst="bentUp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cxnSp>
        <p:nvCxnSpPr>
          <p:cNvPr id="26" name="Connecteur en angle 25"/>
          <p:cNvCxnSpPr>
            <a:stCxn id="12" idx="2"/>
            <a:endCxn id="21" idx="0"/>
          </p:cNvCxnSpPr>
          <p:nvPr/>
        </p:nvCxnSpPr>
        <p:spPr>
          <a:xfrm rot="5400000">
            <a:off x="5643946" y="1522216"/>
            <a:ext cx="437819" cy="1726126"/>
          </a:xfrm>
          <a:prstGeom prst="bentConnector3">
            <a:avLst/>
          </a:prstGeom>
          <a:ln w="1905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8"/>
          <p:cNvPicPr>
            <a:picLocks noChangeAspect="1"/>
          </p:cNvPicPr>
          <p:nvPr/>
        </p:nvPicPr>
        <p:blipFill rotWithShape="1">
          <a:blip r:embed="rId5"/>
          <a:srcRect l="7180" r="-1"/>
          <a:stretch/>
        </p:blipFill>
        <p:spPr>
          <a:xfrm>
            <a:off x="7065360" y="2262071"/>
            <a:ext cx="1307244" cy="968423"/>
          </a:xfrm>
          <a:prstGeom prst="rect">
            <a:avLst/>
          </a:prstGeom>
        </p:spPr>
      </p:pic>
      <p:sp>
        <p:nvSpPr>
          <p:cNvPr id="32" name="ZoneTexte 31"/>
          <p:cNvSpPr txBox="1"/>
          <p:nvPr/>
        </p:nvSpPr>
        <p:spPr>
          <a:xfrm>
            <a:off x="1310414" y="1594177"/>
            <a:ext cx="962083" cy="1701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506" dirty="0" err="1"/>
              <a:t>Order</a:t>
            </a:r>
            <a:r>
              <a:rPr lang="fr-FR" sz="506" dirty="0"/>
              <a:t> </a:t>
            </a:r>
            <a:r>
              <a:rPr lang="fr-FR" sz="506" dirty="0" err="1"/>
              <a:t>history</a:t>
            </a:r>
            <a:endParaRPr lang="fr-FR" sz="506" dirty="0"/>
          </a:p>
        </p:txBody>
      </p:sp>
      <p:sp>
        <p:nvSpPr>
          <p:cNvPr id="34" name="ZoneTexte 33"/>
          <p:cNvSpPr txBox="1"/>
          <p:nvPr/>
        </p:nvSpPr>
        <p:spPr>
          <a:xfrm>
            <a:off x="504433" y="1955887"/>
            <a:ext cx="86441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100" dirty="0"/>
              <a:t>Data</a:t>
            </a:r>
          </a:p>
        </p:txBody>
      </p:sp>
      <p:sp>
        <p:nvSpPr>
          <p:cNvPr id="35" name="ZoneTexte 34"/>
          <p:cNvSpPr txBox="1"/>
          <p:nvPr/>
        </p:nvSpPr>
        <p:spPr>
          <a:xfrm>
            <a:off x="6869869" y="1816363"/>
            <a:ext cx="95108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100" dirty="0" err="1"/>
              <a:t>Trained</a:t>
            </a:r>
            <a:r>
              <a:rPr lang="fr-FR" sz="1100" dirty="0"/>
              <a:t> </a:t>
            </a:r>
            <a:r>
              <a:rPr lang="fr-FR" sz="1100" dirty="0" err="1"/>
              <a:t>algorithm</a:t>
            </a:r>
            <a:endParaRPr lang="fr-FR" sz="1100" dirty="0"/>
          </a:p>
        </p:txBody>
      </p:sp>
      <p:sp>
        <p:nvSpPr>
          <p:cNvPr id="39" name="ZoneTexte 38"/>
          <p:cNvSpPr txBox="1"/>
          <p:nvPr/>
        </p:nvSpPr>
        <p:spPr>
          <a:xfrm>
            <a:off x="3655525" y="1337310"/>
            <a:ext cx="95108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100" dirty="0"/>
              <a:t>PAST</a:t>
            </a:r>
          </a:p>
        </p:txBody>
      </p:sp>
      <p:sp>
        <p:nvSpPr>
          <p:cNvPr id="41" name="ZoneTexte 40"/>
          <p:cNvSpPr txBox="1"/>
          <p:nvPr/>
        </p:nvSpPr>
        <p:spPr>
          <a:xfrm>
            <a:off x="3655524" y="3303156"/>
            <a:ext cx="95108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100" dirty="0"/>
              <a:t>FUTURE</a:t>
            </a:r>
          </a:p>
        </p:txBody>
      </p:sp>
      <p:grpSp>
        <p:nvGrpSpPr>
          <p:cNvPr id="64" name="Groupe 63"/>
          <p:cNvGrpSpPr/>
          <p:nvPr/>
        </p:nvGrpSpPr>
        <p:grpSpPr>
          <a:xfrm>
            <a:off x="6610652" y="2546491"/>
            <a:ext cx="391786" cy="565006"/>
            <a:chOff x="7158337" y="2244508"/>
            <a:chExt cx="481652" cy="719281"/>
          </a:xfrm>
        </p:grpSpPr>
        <p:grpSp>
          <p:nvGrpSpPr>
            <p:cNvPr id="30" name="Groupe 29"/>
            <p:cNvGrpSpPr/>
            <p:nvPr/>
          </p:nvGrpSpPr>
          <p:grpSpPr>
            <a:xfrm>
              <a:off x="7158337" y="2274329"/>
              <a:ext cx="141702" cy="588704"/>
              <a:chOff x="6956297" y="2990134"/>
              <a:chExt cx="141702" cy="588704"/>
            </a:xfrm>
          </p:grpSpPr>
          <p:sp>
            <p:nvSpPr>
              <p:cNvPr id="27" name="Rectangle 26"/>
              <p:cNvSpPr/>
              <p:nvPr/>
            </p:nvSpPr>
            <p:spPr>
              <a:xfrm>
                <a:off x="6956297" y="2990134"/>
                <a:ext cx="141702" cy="144000"/>
              </a:xfrm>
              <a:prstGeom prst="rect">
                <a:avLst/>
              </a:prstGeom>
              <a:solidFill>
                <a:srgbClr val="00B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2400"/>
              </a:p>
            </p:txBody>
          </p:sp>
          <p:sp>
            <p:nvSpPr>
              <p:cNvPr id="28" name="Rectangle 27"/>
              <p:cNvSpPr/>
              <p:nvPr/>
            </p:nvSpPr>
            <p:spPr>
              <a:xfrm>
                <a:off x="6956297" y="3212486"/>
                <a:ext cx="141702" cy="144000"/>
              </a:xfrm>
              <a:prstGeom prst="rect">
                <a:avLst/>
              </a:prstGeom>
              <a:solidFill>
                <a:srgbClr val="FFA5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2400"/>
              </a:p>
            </p:txBody>
          </p:sp>
          <p:sp>
            <p:nvSpPr>
              <p:cNvPr id="29" name="Rectangle 28"/>
              <p:cNvSpPr/>
              <p:nvPr/>
            </p:nvSpPr>
            <p:spPr>
              <a:xfrm>
                <a:off x="6956297" y="3434838"/>
                <a:ext cx="141702" cy="144000"/>
              </a:xfrm>
              <a:prstGeom prst="rect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2400"/>
              </a:p>
            </p:txBody>
          </p:sp>
        </p:grpSp>
        <p:grpSp>
          <p:nvGrpSpPr>
            <p:cNvPr id="63" name="Groupe 62"/>
            <p:cNvGrpSpPr/>
            <p:nvPr/>
          </p:nvGrpSpPr>
          <p:grpSpPr>
            <a:xfrm>
              <a:off x="7202379" y="2244508"/>
              <a:ext cx="437610" cy="719281"/>
              <a:chOff x="7202379" y="2244508"/>
              <a:chExt cx="437610" cy="719281"/>
            </a:xfrm>
          </p:grpSpPr>
          <p:sp>
            <p:nvSpPr>
              <p:cNvPr id="60" name="ZoneTexte 59"/>
              <p:cNvSpPr txBox="1"/>
              <p:nvPr/>
            </p:nvSpPr>
            <p:spPr>
              <a:xfrm>
                <a:off x="7202379" y="2244508"/>
                <a:ext cx="437610" cy="2742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800"/>
                  <a:t>0.2</a:t>
                </a:r>
              </a:p>
            </p:txBody>
          </p:sp>
          <p:sp>
            <p:nvSpPr>
              <p:cNvPr id="61" name="ZoneTexte 60"/>
              <p:cNvSpPr txBox="1"/>
              <p:nvPr/>
            </p:nvSpPr>
            <p:spPr>
              <a:xfrm>
                <a:off x="7202379" y="2467013"/>
                <a:ext cx="437610" cy="2742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800"/>
                  <a:t>0.7</a:t>
                </a:r>
              </a:p>
            </p:txBody>
          </p:sp>
          <p:sp>
            <p:nvSpPr>
              <p:cNvPr id="62" name="ZoneTexte 61"/>
              <p:cNvSpPr txBox="1"/>
              <p:nvPr/>
            </p:nvSpPr>
            <p:spPr>
              <a:xfrm>
                <a:off x="7202379" y="2689518"/>
                <a:ext cx="437610" cy="27427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800"/>
                  <a:t>0.1</a:t>
                </a:r>
              </a:p>
            </p:txBody>
          </p:sp>
        </p:grpSp>
      </p:grpSp>
      <p:sp>
        <p:nvSpPr>
          <p:cNvPr id="49" name="TITRAGE…">
            <a:extLst>
              <a:ext uri="{FF2B5EF4-FFF2-40B4-BE49-F238E27FC236}">
                <a16:creationId xmlns:a16="http://schemas.microsoft.com/office/drawing/2014/main" id="{DC33F1E4-2588-DD49-8E33-51894C84D75F}"/>
              </a:ext>
            </a:extLst>
          </p:cNvPr>
          <p:cNvSpPr txBox="1"/>
          <p:nvPr/>
        </p:nvSpPr>
        <p:spPr>
          <a:xfrm>
            <a:off x="192327" y="245183"/>
            <a:ext cx="2147260" cy="3461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19050" tIns="19050" rIns="19050" bIns="19050" anchor="ctr">
            <a:spAutoFit/>
          </a:bodyPr>
          <a:lstStyle/>
          <a:p>
            <a:pPr algn="r">
              <a:lnSpc>
                <a:spcPct val="80000"/>
              </a:lnSpc>
              <a:defRPr sz="6500">
                <a:solidFill>
                  <a:srgbClr val="01072E"/>
                </a:solidFill>
                <a:latin typeface="Avenir Black"/>
                <a:ea typeface="Avenir Black"/>
                <a:cs typeface="Avenir Black"/>
                <a:sym typeface="Avenir Black"/>
              </a:defRPr>
            </a:pPr>
            <a:r>
              <a:rPr lang="en-GB" sz="2438" dirty="0">
                <a:sym typeface="Avenir Black"/>
              </a:rPr>
              <a:t>Final application</a:t>
            </a:r>
            <a:endParaRPr lang="en-US" sz="2438" dirty="0"/>
          </a:p>
        </p:txBody>
      </p:sp>
    </p:spTree>
    <p:extLst>
      <p:ext uri="{BB962C8B-B14F-4D97-AF65-F5344CB8AC3E}">
        <p14:creationId xmlns:p14="http://schemas.microsoft.com/office/powerpoint/2010/main" val="14010804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5" grpId="0" animBg="1"/>
      <p:bldP spid="18" grpId="0" animBg="1"/>
      <p:bldP spid="33" grpId="0"/>
      <p:bldP spid="38" grpId="0" animBg="1"/>
      <p:bldP spid="40" grpId="0" animBg="1"/>
      <p:bldP spid="14" grpId="0" animBg="1"/>
      <p:bldP spid="16" grpId="0" animBg="1"/>
      <p:bldP spid="19" grpId="0" animBg="1"/>
      <p:bldP spid="21" grpId="0" animBg="1"/>
      <p:bldP spid="22" grpId="0" animBg="1"/>
      <p:bldP spid="17" grpId="0" animBg="1"/>
      <p:bldP spid="24" grpId="0" animBg="1"/>
      <p:bldP spid="32" grpId="0"/>
      <p:bldP spid="34" grpId="0"/>
      <p:bldP spid="35" grpId="0"/>
      <p:bldP spid="39" grpId="0"/>
      <p:bldP spid="41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TITRAGE…"/>
          <p:cNvSpPr txBox="1"/>
          <p:nvPr/>
        </p:nvSpPr>
        <p:spPr>
          <a:xfrm>
            <a:off x="280258" y="244502"/>
            <a:ext cx="4275500" cy="3461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19050" tIns="19050" rIns="19050" bIns="19050" anchor="ctr">
            <a:spAutoFit/>
          </a:bodyPr>
          <a:lstStyle/>
          <a:p>
            <a:pPr algn="l">
              <a:lnSpc>
                <a:spcPct val="80000"/>
              </a:lnSpc>
              <a:defRPr sz="6500">
                <a:solidFill>
                  <a:srgbClr val="01072E"/>
                </a:solidFill>
                <a:latin typeface="Avenir Black"/>
                <a:ea typeface="Avenir Black"/>
                <a:cs typeface="Avenir Black"/>
                <a:sym typeface="Avenir Black"/>
              </a:defRPr>
            </a:pPr>
            <a:r>
              <a:rPr lang="fr-FR" sz="2438" dirty="0" err="1"/>
              <a:t>Explain</a:t>
            </a:r>
            <a:r>
              <a:rPr lang="fr-FR" sz="2438" dirty="0"/>
              <a:t> </a:t>
            </a:r>
            <a:r>
              <a:rPr lang="fr-FR" sz="2438" dirty="0" err="1"/>
              <a:t>predictions</a:t>
            </a:r>
            <a:endParaRPr sz="2438" dirty="0"/>
          </a:p>
        </p:txBody>
      </p:sp>
      <p:sp>
        <p:nvSpPr>
          <p:cNvPr id="167" name="At vero eos et accusamus et iusto odio dignissimos ducimus qui blanditiis praesentium voluptatum deleniti atque corrupti quos dolores et quas molestias excepturi sint occaecati cupiditate"/>
          <p:cNvSpPr txBox="1"/>
          <p:nvPr/>
        </p:nvSpPr>
        <p:spPr>
          <a:xfrm>
            <a:off x="280258" y="741947"/>
            <a:ext cx="6844442" cy="68800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19050" tIns="19050" rIns="19050" bIns="19050" anchor="ctr">
            <a:spAutoFit/>
          </a:bodyPr>
          <a:lstStyle>
            <a:lvl1pPr algn="l" defTabSz="457200">
              <a:lnSpc>
                <a:spcPct val="80000"/>
              </a:lnSpc>
              <a:defRPr sz="2500">
                <a:solidFill>
                  <a:srgbClr val="000000"/>
                </a:solidFill>
                <a:latin typeface="Avenir Heavy"/>
                <a:ea typeface="Avenir Heavy"/>
                <a:cs typeface="Avenir Heavy"/>
                <a:sym typeface="Avenir Heavy"/>
              </a:defRPr>
            </a:lvl1pPr>
          </a:lstStyle>
          <a:p>
            <a:r>
              <a:rPr lang="fr-FR" sz="1050" dirty="0" err="1">
                <a:latin typeface="Calibri"/>
                <a:cs typeface="Calibri"/>
              </a:rPr>
              <a:t>Quantify</a:t>
            </a:r>
            <a:r>
              <a:rPr lang="fr-FR" sz="1050" dirty="0">
                <a:latin typeface="Calibri"/>
                <a:cs typeface="Calibri"/>
              </a:rPr>
              <a:t> relative influence of </a:t>
            </a:r>
            <a:r>
              <a:rPr lang="fr-FR" sz="1050" dirty="0" err="1">
                <a:latin typeface="Calibri"/>
                <a:cs typeface="Calibri"/>
              </a:rPr>
              <a:t>each</a:t>
            </a:r>
            <a:r>
              <a:rPr lang="fr-FR" sz="1050" dirty="0">
                <a:latin typeface="Calibri"/>
                <a:cs typeface="Calibri"/>
              </a:rPr>
              <a:t> </a:t>
            </a:r>
            <a:r>
              <a:rPr lang="fr-FR" sz="1050" dirty="0" err="1">
                <a:latin typeface="Calibri"/>
                <a:cs typeface="Calibri"/>
              </a:rPr>
              <a:t>characteristics</a:t>
            </a:r>
            <a:r>
              <a:rPr lang="fr-FR" sz="1050" dirty="0">
                <a:latin typeface="Calibri"/>
                <a:cs typeface="Calibri"/>
              </a:rPr>
              <a:t> on the </a:t>
            </a:r>
            <a:r>
              <a:rPr lang="fr-FR" sz="1050" dirty="0" err="1">
                <a:latin typeface="Calibri"/>
                <a:cs typeface="Calibri"/>
              </a:rPr>
              <a:t>risk</a:t>
            </a:r>
            <a:r>
              <a:rPr lang="fr-FR" sz="1050" dirty="0">
                <a:latin typeface="Calibri"/>
                <a:cs typeface="Calibri"/>
              </a:rPr>
              <a:t> </a:t>
            </a:r>
            <a:r>
              <a:rPr lang="fr-FR" sz="1050" dirty="0" err="1">
                <a:latin typeface="Calibri"/>
                <a:cs typeface="Calibri"/>
              </a:rPr>
              <a:t>level</a:t>
            </a:r>
            <a:r>
              <a:rPr lang="fr-FR" sz="1050" dirty="0">
                <a:latin typeface="Calibri"/>
                <a:cs typeface="Calibri"/>
              </a:rPr>
              <a:t> </a:t>
            </a:r>
            <a:r>
              <a:rPr lang="fr-FR" sz="1050" dirty="0" err="1">
                <a:latin typeface="Calibri"/>
                <a:cs typeface="Calibri"/>
              </a:rPr>
              <a:t>prediction</a:t>
            </a:r>
            <a:endParaRPr lang="fr-FR" sz="1050" dirty="0">
              <a:latin typeface="Calibri"/>
              <a:cs typeface="Calibri"/>
            </a:endParaRPr>
          </a:p>
          <a:p>
            <a:endParaRPr lang="fr-FR" sz="1050" dirty="0">
              <a:latin typeface="Calibri"/>
              <a:cs typeface="Calibri"/>
            </a:endParaRPr>
          </a:p>
          <a:p>
            <a:pPr marL="64294" indent="-64294">
              <a:buFont typeface="Arial"/>
              <a:buChar char="•"/>
            </a:pPr>
            <a:r>
              <a:rPr lang="fr-FR" sz="1050" dirty="0">
                <a:latin typeface="Calibri"/>
                <a:cs typeface="Calibri"/>
              </a:rPr>
              <a:t>Blue: </a:t>
            </a:r>
            <a:r>
              <a:rPr lang="fr-FR" sz="1050" dirty="0" err="1">
                <a:latin typeface="Calibri"/>
                <a:cs typeface="Calibri"/>
              </a:rPr>
              <a:t>lower</a:t>
            </a:r>
            <a:r>
              <a:rPr lang="fr-FR" sz="1050" dirty="0">
                <a:latin typeface="Calibri"/>
                <a:cs typeface="Calibri"/>
              </a:rPr>
              <a:t> the </a:t>
            </a:r>
            <a:r>
              <a:rPr lang="fr-FR" sz="1050" dirty="0" err="1">
                <a:latin typeface="Calibri"/>
                <a:cs typeface="Calibri"/>
              </a:rPr>
              <a:t>risk</a:t>
            </a:r>
            <a:endParaRPr lang="fr-FR" sz="1050" dirty="0">
              <a:latin typeface="Calibri"/>
              <a:cs typeface="Calibri"/>
            </a:endParaRPr>
          </a:p>
          <a:p>
            <a:endParaRPr lang="fr-FR" sz="1050" dirty="0">
              <a:latin typeface="Calibri"/>
              <a:cs typeface="Calibri"/>
            </a:endParaRPr>
          </a:p>
          <a:p>
            <a:pPr marL="64294" indent="-64294">
              <a:buFont typeface="Arial"/>
              <a:buChar char="•"/>
            </a:pPr>
            <a:r>
              <a:rPr lang="fr-FR" sz="1050" dirty="0">
                <a:latin typeface="Calibri"/>
                <a:cs typeface="Calibri"/>
              </a:rPr>
              <a:t>Red: </a:t>
            </a:r>
            <a:r>
              <a:rPr lang="fr-FR" sz="1050" dirty="0" err="1">
                <a:latin typeface="Calibri"/>
                <a:cs typeface="Calibri"/>
              </a:rPr>
              <a:t>increase</a:t>
            </a:r>
            <a:r>
              <a:rPr lang="fr-FR" sz="1050" dirty="0">
                <a:latin typeface="Calibri"/>
                <a:cs typeface="Calibri"/>
              </a:rPr>
              <a:t> the </a:t>
            </a:r>
            <a:r>
              <a:rPr lang="fr-FR" sz="1050" dirty="0" err="1">
                <a:latin typeface="Calibri"/>
                <a:cs typeface="Calibri"/>
              </a:rPr>
              <a:t>risk</a:t>
            </a:r>
            <a:endParaRPr lang="fr-FR" sz="1050" dirty="0">
              <a:latin typeface="Calibri"/>
              <a:cs typeface="Calibri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50C2B97-3450-374D-A56F-DE8F6C9EA3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0865" y="1539199"/>
            <a:ext cx="2052638" cy="23336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A34C1F1-F2FD-424E-A42C-6B13E499BA1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0923"/>
          <a:stretch/>
        </p:blipFill>
        <p:spPr>
          <a:xfrm>
            <a:off x="3886694" y="1813970"/>
            <a:ext cx="1370613" cy="13565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EFB5BCA-D5F9-1F46-9466-3465C728BD9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7122" y="2028002"/>
            <a:ext cx="8620125" cy="1762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57748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3" name="TITRAGE…"/>
          <p:cNvSpPr txBox="1"/>
          <p:nvPr/>
        </p:nvSpPr>
        <p:spPr>
          <a:xfrm>
            <a:off x="6350523" y="330946"/>
            <a:ext cx="1726678" cy="3461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19050" tIns="19050" rIns="19050" bIns="19050" anchor="ctr">
            <a:spAutoFit/>
          </a:bodyPr>
          <a:lstStyle/>
          <a:p>
            <a:pPr algn="l">
              <a:lnSpc>
                <a:spcPct val="80000"/>
              </a:lnSpc>
              <a:defRPr sz="6500">
                <a:solidFill>
                  <a:srgbClr val="01072E"/>
                </a:solidFill>
                <a:latin typeface="Avenir Black"/>
                <a:ea typeface="Avenir Black"/>
                <a:cs typeface="Avenir Black"/>
                <a:sym typeface="Avenir Black"/>
              </a:defRPr>
            </a:pPr>
            <a:r>
              <a:rPr lang="fr-FR" sz="2438" dirty="0"/>
              <a:t>Performance</a:t>
            </a:r>
            <a:endParaRPr sz="2438" dirty="0"/>
          </a:p>
        </p:txBody>
      </p:sp>
      <p:pic>
        <p:nvPicPr>
          <p:cNvPr id="235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06162" y="832195"/>
            <a:ext cx="3415399" cy="22166"/>
          </a:xfrm>
          <a:prstGeom prst="rect">
            <a:avLst/>
          </a:prstGeom>
          <a:ln w="12700">
            <a:miter lim="400000"/>
          </a:ln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0737C7EA-C225-4EF0-9E51-52713F4E98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4588" y="1490025"/>
            <a:ext cx="8032561" cy="2459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76198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\\commun.ad.sncf.fr\campus\Home\RESSOURCES\Visuels\logo-sncf-peti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1132" y="4392011"/>
            <a:ext cx="966353" cy="5606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re 1"/>
          <p:cNvSpPr txBox="1">
            <a:spLocks/>
          </p:cNvSpPr>
          <p:nvPr/>
        </p:nvSpPr>
        <p:spPr bwMode="gray">
          <a:xfrm>
            <a:off x="2680282" y="1020855"/>
            <a:ext cx="5828097" cy="190095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 defTabSz="91436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kern="1200" cap="all" baseline="0">
                <a:solidFill>
                  <a:srgbClr val="FFFFFF"/>
                </a:solidFill>
                <a:latin typeface="Avenir LT Std 65 Medium" pitchFamily="34" charset="0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fr-FR" b="1" dirty="0" err="1"/>
              <a:t>Why</a:t>
            </a:r>
            <a:r>
              <a:rPr lang="fr-FR" b="1" dirty="0"/>
              <a:t> </a:t>
            </a:r>
            <a:r>
              <a:rPr lang="fr-FR" b="1" dirty="0" err="1"/>
              <a:t>physicists</a:t>
            </a:r>
            <a:r>
              <a:rPr lang="fr-FR" b="1" dirty="0"/>
              <a:t>?</a:t>
            </a:r>
            <a:endParaRPr lang="fr-FR" sz="2800" b="1" dirty="0"/>
          </a:p>
        </p:txBody>
      </p:sp>
      <p:sp>
        <p:nvSpPr>
          <p:cNvPr id="9" name="Organigramme : Connecteur 8"/>
          <p:cNvSpPr/>
          <p:nvPr/>
        </p:nvSpPr>
        <p:spPr>
          <a:xfrm>
            <a:off x="636233" y="1071334"/>
            <a:ext cx="1800000" cy="1800000"/>
          </a:xfrm>
          <a:prstGeom prst="flowChartConnector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0" y="4478345"/>
            <a:ext cx="1541575" cy="387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8541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177149" y="0"/>
            <a:ext cx="8789703" cy="623888"/>
          </a:xfrm>
          <a:prstGeom prst="rect">
            <a:avLst/>
          </a:prstGeom>
        </p:spPr>
        <p:txBody>
          <a:bodyPr anchor="ctr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0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5pPr>
            <a:lvl6pPr marL="38962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6pPr>
            <a:lvl7pPr marL="77925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7pPr>
            <a:lvl8pPr marL="116887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8pPr>
            <a:lvl9pPr marL="1558503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fr-FR" sz="2000" dirty="0"/>
              <a:t>Be Good at math</a:t>
            </a:r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58" b="2586"/>
          <a:stretch/>
        </p:blipFill>
        <p:spPr>
          <a:xfrm>
            <a:off x="1353261" y="1374980"/>
            <a:ext cx="2713723" cy="2627010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441B4A48-6AB3-49A6-A440-D755988E72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41483" y="2253897"/>
            <a:ext cx="3158009" cy="865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96530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177149" y="0"/>
            <a:ext cx="8789703" cy="623888"/>
          </a:xfrm>
          <a:prstGeom prst="rect">
            <a:avLst/>
          </a:prstGeom>
        </p:spPr>
        <p:txBody>
          <a:bodyPr anchor="ctr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0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5pPr>
            <a:lvl6pPr marL="38962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6pPr>
            <a:lvl7pPr marL="77925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7pPr>
            <a:lvl8pPr marL="116887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8pPr>
            <a:lvl9pPr marL="1558503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fr-FR" sz="2000" dirty="0" err="1"/>
              <a:t>scientific</a:t>
            </a:r>
            <a:r>
              <a:rPr lang="fr-FR" sz="2000" dirty="0"/>
              <a:t> </a:t>
            </a:r>
            <a:r>
              <a:rPr lang="fr-FR" sz="2000" dirty="0" err="1"/>
              <a:t>Modelling</a:t>
            </a:r>
            <a:endParaRPr lang="fr-FR" sz="2000" dirty="0"/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9052" y="1066539"/>
            <a:ext cx="6025896" cy="3010423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A24771E-0470-4756-9C21-4DFF6C43BE8A}"/>
              </a:ext>
            </a:extLst>
          </p:cNvPr>
          <p:cNvSpPr/>
          <p:nvPr/>
        </p:nvSpPr>
        <p:spPr>
          <a:xfrm>
            <a:off x="6660108" y="3480179"/>
            <a:ext cx="1392071" cy="5078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800">
                <a:solidFill>
                  <a:schemeClr val="tx1"/>
                </a:solidFill>
              </a:rPr>
              <a:t>Traffic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BA52DFA-6480-452E-A37F-F980F6577C94}"/>
              </a:ext>
            </a:extLst>
          </p:cNvPr>
          <p:cNvSpPr/>
          <p:nvPr/>
        </p:nvSpPr>
        <p:spPr>
          <a:xfrm>
            <a:off x="177149" y="901308"/>
            <a:ext cx="1955041" cy="5078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800">
                <a:solidFill>
                  <a:schemeClr val="tx1"/>
                </a:solidFill>
              </a:rPr>
              <a:t>Nb of </a:t>
            </a:r>
            <a:r>
              <a:rPr lang="fr-FR" sz="1800" err="1">
                <a:solidFill>
                  <a:schemeClr val="tx1"/>
                </a:solidFill>
              </a:rPr>
              <a:t>defects</a:t>
            </a:r>
            <a:r>
              <a:rPr lang="fr-FR" sz="1800">
                <a:solidFill>
                  <a:schemeClr val="tx1"/>
                </a:solidFill>
              </a:rPr>
              <a:t> / km</a:t>
            </a:r>
          </a:p>
        </p:txBody>
      </p:sp>
    </p:spTree>
    <p:extLst>
      <p:ext uri="{BB962C8B-B14F-4D97-AF65-F5344CB8AC3E}">
        <p14:creationId xmlns:p14="http://schemas.microsoft.com/office/powerpoint/2010/main" val="47196687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177149" y="0"/>
            <a:ext cx="8789703" cy="623888"/>
          </a:xfrm>
          <a:prstGeom prst="rect">
            <a:avLst/>
          </a:prstGeom>
        </p:spPr>
        <p:txBody>
          <a:bodyPr anchor="ctr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0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5pPr>
            <a:lvl6pPr marL="38962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6pPr>
            <a:lvl7pPr marL="77925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7pPr>
            <a:lvl8pPr marL="116887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8pPr>
            <a:lvl9pPr marL="1558503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fr-FR" sz="2000" dirty="0" err="1"/>
              <a:t>scientific</a:t>
            </a:r>
            <a:r>
              <a:rPr lang="fr-FR" sz="2000" dirty="0"/>
              <a:t> </a:t>
            </a:r>
            <a:r>
              <a:rPr lang="fr-FR" sz="2000" dirty="0" err="1"/>
              <a:t>Modelling</a:t>
            </a:r>
            <a:endParaRPr lang="fr-FR" sz="2000" dirty="0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9052" y="1066539"/>
            <a:ext cx="6025896" cy="3010423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4" name="ZoneTexte 3"/>
              <p:cNvSpPr txBox="1"/>
              <p:nvPr/>
            </p:nvSpPr>
            <p:spPr>
              <a:xfrm>
                <a:off x="3374446" y="4334947"/>
                <a:ext cx="1965198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2400" i="1" smtClean="0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fr-FR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fr-FR" sz="2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sz="24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fr-FR" sz="2400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fr-FR" sz="2400" b="0" i="0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fr-FR" sz="2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fr-FR" sz="2400" b="0" i="0" smtClean="0">
                              <a:latin typeface="Cambria Math" panose="02040503050406030204" pitchFamily="18" charset="0"/>
                            </a:rPr>
                            <m:t>a</m:t>
                          </m:r>
                        </m:e>
                        <m:sub>
                          <m:r>
                            <a:rPr lang="fr-FR" sz="2400" b="0" i="0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m:rPr>
                          <m:sty m:val="p"/>
                        </m:rPr>
                        <a:rPr lang="fr-FR" sz="2400" b="0" i="0" smtClean="0">
                          <a:latin typeface="Cambria Math" panose="02040503050406030204" pitchFamily="18" charset="0"/>
                        </a:rPr>
                        <m:t>x</m:t>
                      </m:r>
                    </m:oMath>
                  </m:oMathPara>
                </a14:m>
                <a:endParaRPr lang="en-US" sz="2400" err="1"/>
              </a:p>
            </p:txBody>
          </p:sp>
        </mc:Choice>
        <mc:Fallback xmlns="">
          <p:sp>
            <p:nvSpPr>
              <p:cNvPr id="4" name="ZoneTexte 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74446" y="4334947"/>
                <a:ext cx="1965198" cy="369332"/>
              </a:xfrm>
              <a:prstGeom prst="rect">
                <a:avLst/>
              </a:prstGeom>
              <a:blipFill>
                <a:blip r:embed="rId3"/>
                <a:stretch>
                  <a:fillRect b="-24590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Rectangle 5">
            <a:extLst>
              <a:ext uri="{FF2B5EF4-FFF2-40B4-BE49-F238E27FC236}">
                <a16:creationId xmlns:a16="http://schemas.microsoft.com/office/drawing/2014/main" id="{1612E07F-88EC-4FEE-A8F5-7AE7BDE4301A}"/>
              </a:ext>
            </a:extLst>
          </p:cNvPr>
          <p:cNvSpPr/>
          <p:nvPr/>
        </p:nvSpPr>
        <p:spPr>
          <a:xfrm>
            <a:off x="6660108" y="3480179"/>
            <a:ext cx="1392071" cy="5078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800">
                <a:solidFill>
                  <a:schemeClr val="tx1"/>
                </a:solidFill>
              </a:rPr>
              <a:t>Traffic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4F10585-826F-476A-8744-467FD2E0E446}"/>
              </a:ext>
            </a:extLst>
          </p:cNvPr>
          <p:cNvSpPr/>
          <p:nvPr/>
        </p:nvSpPr>
        <p:spPr>
          <a:xfrm>
            <a:off x="177149" y="901308"/>
            <a:ext cx="1955041" cy="5078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800">
                <a:solidFill>
                  <a:schemeClr val="tx1"/>
                </a:solidFill>
              </a:rPr>
              <a:t>Nb of </a:t>
            </a:r>
            <a:r>
              <a:rPr lang="fr-FR" sz="1800" err="1">
                <a:solidFill>
                  <a:schemeClr val="tx1"/>
                </a:solidFill>
              </a:rPr>
              <a:t>defects</a:t>
            </a:r>
            <a:r>
              <a:rPr lang="fr-FR" sz="1800">
                <a:solidFill>
                  <a:schemeClr val="tx1"/>
                </a:solidFill>
              </a:rPr>
              <a:t> / km</a:t>
            </a:r>
          </a:p>
        </p:txBody>
      </p:sp>
    </p:spTree>
    <p:extLst>
      <p:ext uri="{BB962C8B-B14F-4D97-AF65-F5344CB8AC3E}">
        <p14:creationId xmlns:p14="http://schemas.microsoft.com/office/powerpoint/2010/main" val="52399291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177149" y="0"/>
            <a:ext cx="8789703" cy="623888"/>
          </a:xfrm>
          <a:prstGeom prst="rect">
            <a:avLst/>
          </a:prstGeom>
        </p:spPr>
        <p:txBody>
          <a:bodyPr anchor="ctr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0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5pPr>
            <a:lvl6pPr marL="38962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6pPr>
            <a:lvl7pPr marL="77925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7pPr>
            <a:lvl8pPr marL="116887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8pPr>
            <a:lvl9pPr marL="1558503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fr-FR" sz="2000" dirty="0" err="1"/>
              <a:t>Being</a:t>
            </a:r>
            <a:r>
              <a:rPr lang="fr-FR" sz="2000" dirty="0"/>
              <a:t> </a:t>
            </a:r>
            <a:r>
              <a:rPr lang="fr-FR" sz="2000" dirty="0" err="1"/>
              <a:t>analytic</a:t>
            </a:r>
            <a:r>
              <a:rPr lang="fr-FR" sz="2000" dirty="0"/>
              <a:t> and </a:t>
            </a:r>
            <a:r>
              <a:rPr lang="fr-FR" sz="2000" dirty="0" err="1"/>
              <a:t>taking</a:t>
            </a:r>
            <a:r>
              <a:rPr lang="fr-FR" sz="2000" dirty="0"/>
              <a:t> a </a:t>
            </a:r>
            <a:r>
              <a:rPr lang="fr-FR" sz="2000" dirty="0" err="1"/>
              <a:t>critical</a:t>
            </a:r>
            <a:r>
              <a:rPr lang="fr-FR" sz="2000" dirty="0"/>
              <a:t> look</a:t>
            </a: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9052" y="1066539"/>
            <a:ext cx="6025896" cy="3010423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9052" y="1066539"/>
            <a:ext cx="6025896" cy="3010423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6" name="ZoneTexte 5"/>
              <p:cNvSpPr txBox="1"/>
              <p:nvPr/>
            </p:nvSpPr>
            <p:spPr>
              <a:xfrm>
                <a:off x="3374446" y="4334947"/>
                <a:ext cx="1965198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2400" i="1" smtClean="0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fr-FR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fr-FR" sz="2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sz="24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fr-FR" sz="2400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fr-FR" sz="2400" b="0" i="0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fr-FR" sz="2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fr-FR" sz="2400" b="0" i="0" smtClean="0">
                              <a:latin typeface="Cambria Math" panose="02040503050406030204" pitchFamily="18" charset="0"/>
                            </a:rPr>
                            <m:t>a</m:t>
                          </m:r>
                        </m:e>
                        <m:sub>
                          <m:r>
                            <a:rPr lang="fr-FR" sz="2400" b="0" i="0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m:rPr>
                          <m:sty m:val="p"/>
                        </m:rPr>
                        <a:rPr lang="fr-FR" sz="2400" b="0" i="0" smtClean="0">
                          <a:latin typeface="Cambria Math" panose="02040503050406030204" pitchFamily="18" charset="0"/>
                        </a:rPr>
                        <m:t>x</m:t>
                      </m:r>
                    </m:oMath>
                  </m:oMathPara>
                </a14:m>
                <a:endParaRPr lang="en-US" sz="2400" err="1"/>
              </a:p>
            </p:txBody>
          </p:sp>
        </mc:Choice>
        <mc:Fallback xmlns="">
          <p:sp>
            <p:nvSpPr>
              <p:cNvPr id="6" name="ZoneTexte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74446" y="4334947"/>
                <a:ext cx="1965198" cy="369332"/>
              </a:xfrm>
              <a:prstGeom prst="rect">
                <a:avLst/>
              </a:prstGeom>
              <a:blipFill>
                <a:blip r:embed="rId4"/>
                <a:stretch>
                  <a:fillRect b="-24590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Rectangle 6">
            <a:extLst>
              <a:ext uri="{FF2B5EF4-FFF2-40B4-BE49-F238E27FC236}">
                <a16:creationId xmlns:a16="http://schemas.microsoft.com/office/drawing/2014/main" id="{2C93F84B-39ED-42F6-8EE9-C020EB408E42}"/>
              </a:ext>
            </a:extLst>
          </p:cNvPr>
          <p:cNvSpPr/>
          <p:nvPr/>
        </p:nvSpPr>
        <p:spPr>
          <a:xfrm>
            <a:off x="6660108" y="3480179"/>
            <a:ext cx="1392071" cy="5078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800">
                <a:solidFill>
                  <a:schemeClr val="tx1"/>
                </a:solidFill>
              </a:rPr>
              <a:t>Traffic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3CCF815-8E27-4052-A7C1-0E5781A60569}"/>
              </a:ext>
            </a:extLst>
          </p:cNvPr>
          <p:cNvSpPr/>
          <p:nvPr/>
        </p:nvSpPr>
        <p:spPr>
          <a:xfrm>
            <a:off x="177149" y="901308"/>
            <a:ext cx="1955041" cy="5078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800">
                <a:solidFill>
                  <a:schemeClr val="tx1"/>
                </a:solidFill>
              </a:rPr>
              <a:t>Nb of </a:t>
            </a:r>
            <a:r>
              <a:rPr lang="fr-FR" sz="1800" err="1">
                <a:solidFill>
                  <a:schemeClr val="tx1"/>
                </a:solidFill>
              </a:rPr>
              <a:t>defects</a:t>
            </a:r>
            <a:r>
              <a:rPr lang="fr-FR" sz="1800">
                <a:solidFill>
                  <a:schemeClr val="tx1"/>
                </a:solidFill>
              </a:rPr>
              <a:t> / km</a:t>
            </a:r>
          </a:p>
        </p:txBody>
      </p:sp>
    </p:spTree>
    <p:extLst>
      <p:ext uri="{BB962C8B-B14F-4D97-AF65-F5344CB8AC3E}">
        <p14:creationId xmlns:p14="http://schemas.microsoft.com/office/powerpoint/2010/main" val="428499653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617156" y="1100406"/>
            <a:ext cx="1219200" cy="2844800"/>
          </a:xfrm>
          <a:prstGeom prst="rect">
            <a:avLst/>
          </a:prstGeom>
          <a:solidFill>
            <a:srgbClr val="FF0000">
              <a:alpha val="28000"/>
            </a:srgbClr>
          </a:solidFill>
          <a:ln w="9525">
            <a:solidFill>
              <a:srgbClr val="E1E1E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pPr algn="ctr"/>
            <a:endParaRPr lang="en-US" sz="140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9052" y="1066539"/>
            <a:ext cx="6025896" cy="3010423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4" name="ZoneTexte 3"/>
              <p:cNvSpPr txBox="1"/>
              <p:nvPr/>
            </p:nvSpPr>
            <p:spPr>
              <a:xfrm>
                <a:off x="3374446" y="4334947"/>
                <a:ext cx="1965198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2400" i="1" smtClean="0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fr-FR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fr-FR" sz="2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sz="24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fr-FR" sz="2400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fr-FR" sz="2400" b="0" i="0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fr-FR" sz="2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fr-FR" sz="2400" b="0" i="0" smtClean="0">
                              <a:latin typeface="Cambria Math" panose="02040503050406030204" pitchFamily="18" charset="0"/>
                            </a:rPr>
                            <m:t>a</m:t>
                          </m:r>
                        </m:e>
                        <m:sub>
                          <m:r>
                            <a:rPr lang="fr-FR" sz="2400" b="0" i="0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m:rPr>
                          <m:sty m:val="p"/>
                        </m:rPr>
                        <a:rPr lang="fr-FR" sz="2400" b="0" i="0" smtClean="0">
                          <a:latin typeface="Cambria Math" panose="02040503050406030204" pitchFamily="18" charset="0"/>
                        </a:rPr>
                        <m:t>x</m:t>
                      </m:r>
                    </m:oMath>
                  </m:oMathPara>
                </a14:m>
                <a:endParaRPr lang="en-US" sz="2400" err="1"/>
              </a:p>
            </p:txBody>
          </p:sp>
        </mc:Choice>
        <mc:Fallback xmlns="">
          <p:sp>
            <p:nvSpPr>
              <p:cNvPr id="4" name="ZoneTexte 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74446" y="4334947"/>
                <a:ext cx="1965198" cy="369332"/>
              </a:xfrm>
              <a:prstGeom prst="rect">
                <a:avLst/>
              </a:prstGeom>
              <a:blipFill>
                <a:blip r:embed="rId3"/>
                <a:stretch>
                  <a:fillRect b="-24590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Title 1"/>
          <p:cNvSpPr txBox="1">
            <a:spLocks/>
          </p:cNvSpPr>
          <p:nvPr/>
        </p:nvSpPr>
        <p:spPr>
          <a:xfrm>
            <a:off x="177149" y="0"/>
            <a:ext cx="8789703" cy="623888"/>
          </a:xfrm>
          <a:prstGeom prst="rect">
            <a:avLst/>
          </a:prstGeom>
        </p:spPr>
        <p:txBody>
          <a:bodyPr anchor="ctr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0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5pPr>
            <a:lvl6pPr marL="38962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6pPr>
            <a:lvl7pPr marL="77925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7pPr>
            <a:lvl8pPr marL="116887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8pPr>
            <a:lvl9pPr marL="1558503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fr-FR" sz="2000" dirty="0" err="1"/>
              <a:t>Think</a:t>
            </a:r>
            <a:r>
              <a:rPr lang="fr-FR" sz="2000" dirty="0"/>
              <a:t> of </a:t>
            </a:r>
            <a:r>
              <a:rPr lang="fr-FR" sz="2000" dirty="0" err="1"/>
              <a:t>everything</a:t>
            </a:r>
            <a:endParaRPr lang="fr-FR" sz="20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F5178D9-EF6C-4B48-8A4B-D59623ED5259}"/>
              </a:ext>
            </a:extLst>
          </p:cNvPr>
          <p:cNvSpPr/>
          <p:nvPr/>
        </p:nvSpPr>
        <p:spPr>
          <a:xfrm>
            <a:off x="6660108" y="3480179"/>
            <a:ext cx="1392071" cy="5078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800">
                <a:solidFill>
                  <a:schemeClr val="tx1"/>
                </a:solidFill>
              </a:rPr>
              <a:t>Traffic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CE6D380-BA95-476E-8FF2-BEC0E947EA4F}"/>
              </a:ext>
            </a:extLst>
          </p:cNvPr>
          <p:cNvSpPr/>
          <p:nvPr/>
        </p:nvSpPr>
        <p:spPr>
          <a:xfrm>
            <a:off x="177149" y="901308"/>
            <a:ext cx="1955041" cy="5078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800">
                <a:solidFill>
                  <a:schemeClr val="tx1"/>
                </a:solidFill>
              </a:rPr>
              <a:t>Nb of </a:t>
            </a:r>
            <a:r>
              <a:rPr lang="fr-FR" sz="1800" err="1">
                <a:solidFill>
                  <a:schemeClr val="tx1"/>
                </a:solidFill>
              </a:rPr>
              <a:t>defects</a:t>
            </a:r>
            <a:r>
              <a:rPr lang="fr-FR" sz="1800">
                <a:solidFill>
                  <a:schemeClr val="tx1"/>
                </a:solidFill>
              </a:rPr>
              <a:t> / km</a:t>
            </a:r>
          </a:p>
        </p:txBody>
      </p:sp>
    </p:spTree>
    <p:extLst>
      <p:ext uri="{BB962C8B-B14F-4D97-AF65-F5344CB8AC3E}">
        <p14:creationId xmlns:p14="http://schemas.microsoft.com/office/powerpoint/2010/main" val="27566228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1"/>
          <p:cNvSpPr txBox="1">
            <a:spLocks/>
          </p:cNvSpPr>
          <p:nvPr/>
        </p:nvSpPr>
        <p:spPr>
          <a:xfrm>
            <a:off x="434400" y="272705"/>
            <a:ext cx="8572440" cy="63026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00" b="0" kern="1200" cap="all" baseline="0">
                <a:solidFill>
                  <a:schemeClr val="bg1">
                    <a:alpha val="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400"/>
            <a:r>
              <a:rPr lang="fr-FR" sz="2400" dirty="0">
                <a:solidFill>
                  <a:srgbClr val="82BE00"/>
                </a:solidFill>
                <a:latin typeface="Avenir LT Std 65 Medium"/>
                <a:ea typeface="+mj-lt"/>
                <a:cs typeface="+mj-lt"/>
              </a:rPr>
              <a:t>SNCF: 5 millions voyages / </a:t>
            </a:r>
            <a:r>
              <a:rPr lang="fr-FR" sz="2400" dirty="0" err="1">
                <a:solidFill>
                  <a:srgbClr val="82BE00"/>
                </a:solidFill>
                <a:latin typeface="Avenir LT Std 65 Medium"/>
                <a:ea typeface="+mj-lt"/>
                <a:cs typeface="+mj-lt"/>
              </a:rPr>
              <a:t>day</a:t>
            </a:r>
            <a:r>
              <a:rPr lang="fr-FR" sz="2400" dirty="0">
                <a:solidFill>
                  <a:srgbClr val="82BE00"/>
                </a:solidFill>
                <a:latin typeface="Avenir LT Std 65 Medium"/>
                <a:ea typeface="+mj-lt"/>
                <a:cs typeface="+mj-lt"/>
              </a:rPr>
              <a:t> in France</a:t>
            </a:r>
            <a:endParaRPr lang="fr-FR" sz="2400" dirty="0">
              <a:solidFill>
                <a:srgbClr val="82BE00"/>
              </a:solidFill>
              <a:latin typeface="Avenir LT Std 65 Medium"/>
              <a:ea typeface="+mn-ea"/>
              <a:cs typeface="+mn-cs"/>
            </a:endParaRP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44E16140-5F3D-47B5-8566-DD2688E3EB31}"/>
              </a:ext>
            </a:extLst>
          </p:cNvPr>
          <p:cNvGrpSpPr/>
          <p:nvPr/>
        </p:nvGrpSpPr>
        <p:grpSpPr>
          <a:xfrm>
            <a:off x="434400" y="1339683"/>
            <a:ext cx="1766700" cy="1459357"/>
            <a:chOff x="3212691" y="1251573"/>
            <a:chExt cx="2568677" cy="154541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83D6FBE-FEA6-414F-B9AD-21621744599E}"/>
                </a:ext>
              </a:extLst>
            </p:cNvPr>
            <p:cNvSpPr/>
            <p:nvPr/>
          </p:nvSpPr>
          <p:spPr>
            <a:xfrm>
              <a:off x="3212691" y="1251573"/>
              <a:ext cx="2568677" cy="399740"/>
            </a:xfrm>
            <a:prstGeom prst="rect">
              <a:avLst/>
            </a:prstGeom>
            <a:solidFill>
              <a:srgbClr val="00B050"/>
            </a:solidFill>
            <a:ln w="25400" cap="flat" cmpd="sng" algn="ctr">
              <a:solidFill>
                <a:srgbClr val="00B05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342900">
                <a:defRPr/>
              </a:pPr>
              <a:r>
                <a:rPr lang="fr-FR" sz="1800" kern="0" dirty="0">
                  <a:solidFill>
                    <a:prstClr val="white"/>
                  </a:solidFill>
                  <a:latin typeface="Avenir LT Std 45 Book"/>
                </a:rPr>
                <a:t>Operations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18F0B5E-B06D-4AEC-96ED-9DA848BE0F7F}"/>
                </a:ext>
              </a:extLst>
            </p:cNvPr>
            <p:cNvSpPr/>
            <p:nvPr/>
          </p:nvSpPr>
          <p:spPr>
            <a:xfrm>
              <a:off x="3212691" y="1651313"/>
              <a:ext cx="2568677" cy="1145670"/>
            </a:xfrm>
            <a:prstGeom prst="rect">
              <a:avLst/>
            </a:prstGeom>
            <a:noFill/>
            <a:ln w="25400" cap="flat" cmpd="sng" algn="ctr">
              <a:solidFill>
                <a:srgbClr val="00B050"/>
              </a:solidFill>
              <a:prstDash val="solid"/>
            </a:ln>
            <a:effectLst/>
          </p:spPr>
          <p:txBody>
            <a:bodyPr rtlCol="0" anchor="t"/>
            <a:lstStyle/>
            <a:p>
              <a:pPr defTabSz="342900">
                <a:defRPr/>
              </a:pPr>
              <a:endParaRPr lang="fr-FR" sz="1200" kern="0" dirty="0">
                <a:solidFill>
                  <a:srgbClr val="3C3732"/>
                </a:solidFill>
                <a:latin typeface="Avenir LT Std 45 Book"/>
              </a:endParaRPr>
            </a:p>
            <a:p>
              <a:pPr defTabSz="342900">
                <a:defRPr/>
              </a:pPr>
              <a:r>
                <a:rPr lang="fr-FR" sz="1200" kern="0" dirty="0">
                  <a:solidFill>
                    <a:srgbClr val="3C3732"/>
                  </a:solidFill>
                  <a:latin typeface="Avenir LT Std 45 Book"/>
                </a:rPr>
                <a:t>15 000 trains / </a:t>
              </a:r>
              <a:r>
                <a:rPr lang="fr-FR" sz="1200" kern="0" dirty="0" err="1">
                  <a:solidFill>
                    <a:srgbClr val="3C3732"/>
                  </a:solidFill>
                  <a:latin typeface="Avenir LT Std 45 Book"/>
                </a:rPr>
                <a:t>day</a:t>
              </a:r>
              <a:endParaRPr lang="fr-FR" sz="1200" kern="0" dirty="0">
                <a:solidFill>
                  <a:srgbClr val="3C3732"/>
                </a:solidFill>
                <a:latin typeface="Avenir LT Std 45 Book"/>
              </a:endParaRPr>
            </a:p>
            <a:p>
              <a:pPr defTabSz="342900">
                <a:defRPr/>
              </a:pPr>
              <a:endParaRPr lang="fr-FR" sz="1200" kern="0" dirty="0">
                <a:solidFill>
                  <a:srgbClr val="3C3732"/>
                </a:solidFill>
                <a:latin typeface="Avenir LT Std 45 Book"/>
              </a:endParaRPr>
            </a:p>
            <a:p>
              <a:pPr defTabSz="342900">
                <a:defRPr/>
              </a:pPr>
              <a:r>
                <a:rPr lang="fr-FR" sz="1200" kern="0" dirty="0">
                  <a:solidFill>
                    <a:srgbClr val="3C3732"/>
                  </a:solidFill>
                  <a:latin typeface="Avenir LT Std 45 Book"/>
                </a:rPr>
                <a:t>100 000 000 train tickets </a:t>
              </a:r>
              <a:r>
                <a:rPr lang="fr-FR" sz="1200" kern="0" dirty="0" err="1">
                  <a:solidFill>
                    <a:srgbClr val="3C3732"/>
                  </a:solidFill>
                  <a:latin typeface="Avenir LT Std 45 Book"/>
                </a:rPr>
                <a:t>sold</a:t>
              </a:r>
              <a:r>
                <a:rPr lang="fr-FR" sz="1200" kern="0" dirty="0">
                  <a:solidFill>
                    <a:srgbClr val="3C3732"/>
                  </a:solidFill>
                  <a:latin typeface="Avenir LT Std 45 Book"/>
                </a:rPr>
                <a:t> / </a:t>
              </a:r>
              <a:r>
                <a:rPr lang="fr-FR" sz="1200" kern="0" dirty="0" err="1">
                  <a:solidFill>
                    <a:srgbClr val="3C3732"/>
                  </a:solidFill>
                  <a:latin typeface="Avenir LT Std 45 Book"/>
                </a:rPr>
                <a:t>year</a:t>
              </a:r>
              <a:r>
                <a:rPr lang="fr-FR" sz="1200" kern="0" dirty="0">
                  <a:solidFill>
                    <a:srgbClr val="3C3732"/>
                  </a:solidFill>
                  <a:latin typeface="Avenir LT Std 45 Book"/>
                </a:rPr>
                <a:t> (</a:t>
              </a:r>
              <a:r>
                <a:rPr lang="fr-FR" sz="1200" kern="0" dirty="0" err="1">
                  <a:solidFill>
                    <a:srgbClr val="3C3732"/>
                  </a:solidFill>
                  <a:latin typeface="Avenir LT Std 45 Book"/>
                </a:rPr>
                <a:t>oui.sncf</a:t>
              </a:r>
              <a:r>
                <a:rPr lang="fr-FR" sz="1200" kern="0" dirty="0">
                  <a:solidFill>
                    <a:srgbClr val="3C3732"/>
                  </a:solidFill>
                  <a:latin typeface="Avenir LT Std 45 Book"/>
                </a:rPr>
                <a:t>)</a:t>
              </a:r>
            </a:p>
          </p:txBody>
        </p:sp>
      </p:grpSp>
      <p:pic>
        <p:nvPicPr>
          <p:cNvPr id="31" name="Image 30" descr="Une image contenant carte&#10;&#10;Description générée automatiquement">
            <a:extLst>
              <a:ext uri="{FF2B5EF4-FFF2-40B4-BE49-F238E27FC236}">
                <a16:creationId xmlns:a16="http://schemas.microsoft.com/office/drawing/2014/main" id="{7E603394-742B-44EA-AA93-66C17D0402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6196" y="3176521"/>
            <a:ext cx="1292902" cy="1077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4351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177149" y="0"/>
            <a:ext cx="8789703" cy="623888"/>
          </a:xfrm>
          <a:prstGeom prst="rect">
            <a:avLst/>
          </a:prstGeom>
        </p:spPr>
        <p:txBody>
          <a:bodyPr anchor="ctr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0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5pPr>
            <a:lvl6pPr marL="38962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6pPr>
            <a:lvl7pPr marL="77925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7pPr>
            <a:lvl8pPr marL="116887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8pPr>
            <a:lvl9pPr marL="1558503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fr-FR" sz="2000" dirty="0" err="1"/>
              <a:t>Think</a:t>
            </a:r>
            <a:r>
              <a:rPr lang="fr-FR" sz="2000" dirty="0"/>
              <a:t> of </a:t>
            </a:r>
            <a:r>
              <a:rPr lang="fr-FR" sz="2000" dirty="0" err="1"/>
              <a:t>everything</a:t>
            </a:r>
            <a:endParaRPr lang="fr-FR" sz="2000" dirty="0"/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9052" y="1066539"/>
            <a:ext cx="6025896" cy="3010423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4617156" y="1111695"/>
            <a:ext cx="1219200" cy="2844800"/>
          </a:xfrm>
          <a:prstGeom prst="rect">
            <a:avLst/>
          </a:prstGeom>
          <a:solidFill>
            <a:srgbClr val="FF0000">
              <a:alpha val="28000"/>
            </a:srgbClr>
          </a:solidFill>
          <a:ln w="9525">
            <a:solidFill>
              <a:srgbClr val="E1E1E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pPr algn="ctr"/>
            <a:endParaRPr lang="en-US" sz="140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ZoneTexte 7">
                <a:extLst>
                  <a:ext uri="{FF2B5EF4-FFF2-40B4-BE49-F238E27FC236}">
                    <a16:creationId xmlns:a16="http://schemas.microsoft.com/office/drawing/2014/main" id="{9EC0448B-2510-4FE1-9133-683AB6547E2B}"/>
                  </a:ext>
                </a:extLst>
              </p:cNvPr>
              <p:cNvSpPr txBox="1"/>
              <p:nvPr/>
            </p:nvSpPr>
            <p:spPr>
              <a:xfrm>
                <a:off x="2331155" y="4233347"/>
                <a:ext cx="4481689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2400" i="1" smtClean="0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fr-FR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fr-FR" sz="2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sz="24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fr-FR" sz="2400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fr-FR" sz="2400" b="0" i="0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fr-FR" sz="2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fr-FR" sz="2400" b="0" i="0" smtClean="0">
                              <a:latin typeface="Cambria Math" panose="02040503050406030204" pitchFamily="18" charset="0"/>
                            </a:rPr>
                            <m:t>a</m:t>
                          </m:r>
                        </m:e>
                        <m:sub>
                          <m:r>
                            <a:rPr lang="fr-FR" sz="2400" b="0" i="0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m:rPr>
                          <m:sty m:val="p"/>
                        </m:rPr>
                        <a:rPr lang="fr-FR" sz="2400" b="0" i="0" smtClean="0">
                          <a:latin typeface="Cambria Math" panose="02040503050406030204" pitchFamily="18" charset="0"/>
                        </a:rPr>
                        <m:t>x</m:t>
                      </m:r>
                      <m:r>
                        <a:rPr lang="fr-FR" sz="2400" b="0" i="0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fr-FR" sz="2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fr-FR" sz="2400" b="0" i="0" smtClean="0">
                              <a:latin typeface="Cambria Math" panose="02040503050406030204" pitchFamily="18" charset="0"/>
                            </a:rPr>
                            <m:t>a</m:t>
                          </m:r>
                        </m:e>
                        <m:sub>
                          <m:r>
                            <a:rPr lang="fr-FR" sz="2400" b="0" i="0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sSup>
                        <m:sSupPr>
                          <m:ctrlPr>
                            <a:rPr lang="fr-FR" sz="24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m:rPr>
                              <m:sty m:val="p"/>
                            </m:rPr>
                            <a:rPr lang="fr-FR" sz="2400" b="0" i="0" smtClean="0">
                              <a:latin typeface="Cambria Math" panose="02040503050406030204" pitchFamily="18" charset="0"/>
                            </a:rPr>
                            <m:t>x</m:t>
                          </m:r>
                        </m:e>
                        <m:sup>
                          <m:r>
                            <a:rPr lang="fr-FR" sz="2400" b="0" i="0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fr-FR" sz="2400" b="0" i="0" smtClean="0">
                          <a:latin typeface="Cambria Math" panose="02040503050406030204" pitchFamily="18" charset="0"/>
                        </a:rPr>
                        <m:t>+ … </m:t>
                      </m:r>
                    </m:oMath>
                  </m:oMathPara>
                </a14:m>
                <a:endParaRPr lang="en-US" sz="2400" err="1"/>
              </a:p>
            </p:txBody>
          </p:sp>
        </mc:Choice>
        <mc:Fallback xmlns="">
          <p:sp>
            <p:nvSpPr>
              <p:cNvPr id="8" name="ZoneTexte 7">
                <a:extLst>
                  <a:ext uri="{FF2B5EF4-FFF2-40B4-BE49-F238E27FC236}">
                    <a16:creationId xmlns:a16="http://schemas.microsoft.com/office/drawing/2014/main" id="{9EC0448B-2510-4FE1-9133-683AB6547E2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31155" y="4233347"/>
                <a:ext cx="4481689" cy="369332"/>
              </a:xfrm>
              <a:prstGeom prst="rect">
                <a:avLst/>
              </a:prstGeom>
              <a:blipFill>
                <a:blip r:embed="rId3"/>
                <a:stretch>
                  <a:fillRect b="-24590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Rectangle 8">
            <a:extLst>
              <a:ext uri="{FF2B5EF4-FFF2-40B4-BE49-F238E27FC236}">
                <a16:creationId xmlns:a16="http://schemas.microsoft.com/office/drawing/2014/main" id="{EA771E37-6FAA-4CB7-B981-7DAF8A6A200B}"/>
              </a:ext>
            </a:extLst>
          </p:cNvPr>
          <p:cNvSpPr/>
          <p:nvPr/>
        </p:nvSpPr>
        <p:spPr>
          <a:xfrm>
            <a:off x="6660108" y="3480179"/>
            <a:ext cx="1392071" cy="5078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800">
                <a:solidFill>
                  <a:schemeClr val="tx1"/>
                </a:solidFill>
              </a:rPr>
              <a:t>Traffic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6CD97BF-D32A-4B07-AAB0-BFA0E5EE2D7E}"/>
              </a:ext>
            </a:extLst>
          </p:cNvPr>
          <p:cNvSpPr/>
          <p:nvPr/>
        </p:nvSpPr>
        <p:spPr>
          <a:xfrm>
            <a:off x="177149" y="901308"/>
            <a:ext cx="1955041" cy="5078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800">
                <a:solidFill>
                  <a:schemeClr val="tx1"/>
                </a:solidFill>
              </a:rPr>
              <a:t>Nb of </a:t>
            </a:r>
            <a:r>
              <a:rPr lang="fr-FR" sz="1800" err="1">
                <a:solidFill>
                  <a:schemeClr val="tx1"/>
                </a:solidFill>
              </a:rPr>
              <a:t>defects</a:t>
            </a:r>
            <a:r>
              <a:rPr lang="fr-FR" sz="1800">
                <a:solidFill>
                  <a:schemeClr val="tx1"/>
                </a:solidFill>
              </a:rPr>
              <a:t> / km</a:t>
            </a:r>
          </a:p>
        </p:txBody>
      </p:sp>
    </p:spTree>
    <p:extLst>
      <p:ext uri="{BB962C8B-B14F-4D97-AF65-F5344CB8AC3E}">
        <p14:creationId xmlns:p14="http://schemas.microsoft.com/office/powerpoint/2010/main" val="298823291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177149" y="0"/>
            <a:ext cx="8789703" cy="623888"/>
          </a:xfrm>
          <a:prstGeom prst="rect">
            <a:avLst/>
          </a:prstGeom>
        </p:spPr>
        <p:txBody>
          <a:bodyPr anchor="ctr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0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5pPr>
            <a:lvl6pPr marL="38962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6pPr>
            <a:lvl7pPr marL="77925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7pPr>
            <a:lvl8pPr marL="116887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8pPr>
            <a:lvl9pPr marL="1558503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fr-FR" sz="2000" dirty="0" err="1"/>
              <a:t>Optimizing</a:t>
            </a:r>
            <a:endParaRPr lang="fr-FR" sz="2000" dirty="0"/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9052" y="1066539"/>
            <a:ext cx="6025896" cy="3010423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" name="ZoneTexte 2"/>
              <p:cNvSpPr txBox="1"/>
              <p:nvPr/>
            </p:nvSpPr>
            <p:spPr>
              <a:xfrm>
                <a:off x="6417733" y="1518354"/>
                <a:ext cx="1158779" cy="74693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2000" b="0" i="1" smtClean="0">
                          <a:latin typeface="Cambria Math" panose="02040503050406030204" pitchFamily="18" charset="0"/>
                        </a:rPr>
                        <m:t>𝐸</m:t>
                      </m:r>
                      <m:r>
                        <a:rPr lang="fr-FR" sz="2000" b="0" i="1" smtClean="0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supHide m:val="on"/>
                          <m:ctrlPr>
                            <a:rPr lang="fr-FR" sz="2000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fr-FR" sz="20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/>
                        <m:e>
                          <m:sSub>
                            <m:sSubPr>
                              <m:ctrlPr>
                                <a:rPr lang="fr-FR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r-FR" sz="2000" b="0" i="1" smtClean="0">
                                  <a:latin typeface="Cambria Math" panose="02040503050406030204" pitchFamily="18" charset="0"/>
                                </a:rPr>
                                <m:t>𝛿</m:t>
                              </m:r>
                            </m:e>
                            <m:sub>
                              <m:r>
                                <a:rPr lang="fr-FR" sz="20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nary>
                    </m:oMath>
                  </m:oMathPara>
                </a14:m>
                <a:endParaRPr lang="en-US" sz="2000" err="1"/>
              </a:p>
            </p:txBody>
          </p:sp>
        </mc:Choice>
        <mc:Fallback xmlns="">
          <p:sp>
            <p:nvSpPr>
              <p:cNvPr id="3" name="ZoneTexte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17733" y="1518354"/>
                <a:ext cx="1158779" cy="746936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itle 1"/>
          <p:cNvSpPr txBox="1">
            <a:spLocks/>
          </p:cNvSpPr>
          <p:nvPr/>
        </p:nvSpPr>
        <p:spPr>
          <a:xfrm>
            <a:off x="177149" y="4519612"/>
            <a:ext cx="8789703" cy="623888"/>
          </a:xfrm>
          <a:prstGeom prst="rect">
            <a:avLst/>
          </a:prstGeom>
        </p:spPr>
        <p:txBody>
          <a:bodyPr anchor="ctr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0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5pPr>
            <a:lvl6pPr marL="38962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6pPr>
            <a:lvl7pPr marL="77925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7pPr>
            <a:lvl8pPr marL="116887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8pPr>
            <a:lvl9pPr marL="1558503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fr-FR" sz="2000" dirty="0" err="1"/>
              <a:t>Minimize</a:t>
            </a:r>
            <a:r>
              <a:rPr lang="fr-FR" sz="2000" dirty="0"/>
              <a:t> </a:t>
            </a:r>
            <a:r>
              <a:rPr lang="fr-FR" sz="2000" dirty="0" err="1"/>
              <a:t>error</a:t>
            </a:r>
            <a:endParaRPr lang="fr-FR" sz="20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283CDA6-063F-4B23-89F1-646978CD66BF}"/>
              </a:ext>
            </a:extLst>
          </p:cNvPr>
          <p:cNvSpPr/>
          <p:nvPr/>
        </p:nvSpPr>
        <p:spPr>
          <a:xfrm>
            <a:off x="6660108" y="3480179"/>
            <a:ext cx="1392071" cy="5078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800">
                <a:solidFill>
                  <a:schemeClr val="tx1"/>
                </a:solidFill>
              </a:rPr>
              <a:t>Traffic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4F4098F-BBCF-4706-A15C-C373FE72E7FC}"/>
              </a:ext>
            </a:extLst>
          </p:cNvPr>
          <p:cNvSpPr/>
          <p:nvPr/>
        </p:nvSpPr>
        <p:spPr>
          <a:xfrm>
            <a:off x="177149" y="901308"/>
            <a:ext cx="1955041" cy="5078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800">
                <a:solidFill>
                  <a:schemeClr val="tx1"/>
                </a:solidFill>
              </a:rPr>
              <a:t>Nb of </a:t>
            </a:r>
            <a:r>
              <a:rPr lang="fr-FR" sz="1800" err="1">
                <a:solidFill>
                  <a:schemeClr val="tx1"/>
                </a:solidFill>
              </a:rPr>
              <a:t>defects</a:t>
            </a:r>
            <a:r>
              <a:rPr lang="fr-FR" sz="1800">
                <a:solidFill>
                  <a:schemeClr val="tx1"/>
                </a:solidFill>
              </a:rPr>
              <a:t> / km</a:t>
            </a:r>
          </a:p>
        </p:txBody>
      </p:sp>
    </p:spTree>
    <p:extLst>
      <p:ext uri="{BB962C8B-B14F-4D97-AF65-F5344CB8AC3E}">
        <p14:creationId xmlns:p14="http://schemas.microsoft.com/office/powerpoint/2010/main" val="19051402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177149" y="0"/>
            <a:ext cx="8789703" cy="623888"/>
          </a:xfrm>
          <a:prstGeom prst="rect">
            <a:avLst/>
          </a:prstGeom>
        </p:spPr>
        <p:txBody>
          <a:bodyPr anchor="ctr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0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5pPr>
            <a:lvl6pPr marL="38962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6pPr>
            <a:lvl7pPr marL="77925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7pPr>
            <a:lvl8pPr marL="116887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8pPr>
            <a:lvl9pPr marL="1558503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fr-FR" sz="2000" dirty="0"/>
              <a:t>Not to </a:t>
            </a:r>
            <a:r>
              <a:rPr lang="fr-FR" sz="2000" dirty="0" err="1"/>
              <a:t>much</a:t>
            </a:r>
            <a:endParaRPr lang="fr-FR" sz="20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ZoneTexte 5"/>
              <p:cNvSpPr txBox="1"/>
              <p:nvPr/>
            </p:nvSpPr>
            <p:spPr>
              <a:xfrm>
                <a:off x="2331155" y="4233347"/>
                <a:ext cx="4481689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2400" i="1" smtClean="0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fr-FR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fr-FR" sz="2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sz="24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fr-FR" sz="2400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fr-FR" sz="2400" b="0" i="0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fr-FR" sz="2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fr-FR" sz="2400" b="0" i="0" smtClean="0">
                              <a:latin typeface="Cambria Math" panose="02040503050406030204" pitchFamily="18" charset="0"/>
                            </a:rPr>
                            <m:t>a</m:t>
                          </m:r>
                        </m:e>
                        <m:sub>
                          <m:r>
                            <a:rPr lang="fr-FR" sz="2400" b="0" i="0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m:rPr>
                          <m:sty m:val="p"/>
                        </m:rPr>
                        <a:rPr lang="fr-FR" sz="2400" b="0" i="0" smtClean="0">
                          <a:latin typeface="Cambria Math" panose="02040503050406030204" pitchFamily="18" charset="0"/>
                        </a:rPr>
                        <m:t>x</m:t>
                      </m:r>
                      <m:r>
                        <a:rPr lang="fr-FR" sz="2400" b="0" i="0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fr-FR" sz="2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fr-FR" sz="2400" b="0" i="0" smtClean="0">
                              <a:latin typeface="Cambria Math" panose="02040503050406030204" pitchFamily="18" charset="0"/>
                            </a:rPr>
                            <m:t>a</m:t>
                          </m:r>
                        </m:e>
                        <m:sub>
                          <m:r>
                            <a:rPr lang="fr-FR" sz="2400" b="0" i="0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sSup>
                        <m:sSupPr>
                          <m:ctrlPr>
                            <a:rPr lang="fr-FR" sz="24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m:rPr>
                              <m:sty m:val="p"/>
                            </m:rPr>
                            <a:rPr lang="fr-FR" sz="2400" b="0" i="0" smtClean="0">
                              <a:latin typeface="Cambria Math" panose="02040503050406030204" pitchFamily="18" charset="0"/>
                            </a:rPr>
                            <m:t>x</m:t>
                          </m:r>
                        </m:e>
                        <m:sup>
                          <m:r>
                            <a:rPr lang="fr-FR" sz="2400" b="0" i="0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fr-FR" sz="2400" b="0" i="0" smtClean="0">
                          <a:latin typeface="Cambria Math" panose="02040503050406030204" pitchFamily="18" charset="0"/>
                        </a:rPr>
                        <m:t>+ … </m:t>
                      </m:r>
                    </m:oMath>
                  </m:oMathPara>
                </a14:m>
                <a:endParaRPr lang="en-US" sz="2400" err="1"/>
              </a:p>
            </p:txBody>
          </p:sp>
        </mc:Choice>
        <mc:Fallback xmlns="">
          <p:sp>
            <p:nvSpPr>
              <p:cNvPr id="6" name="ZoneTexte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31155" y="4233347"/>
                <a:ext cx="4481689" cy="369332"/>
              </a:xfrm>
              <a:prstGeom prst="rect">
                <a:avLst/>
              </a:prstGeom>
              <a:blipFill>
                <a:blip r:embed="rId2"/>
                <a:stretch>
                  <a:fillRect b="-24590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" name="Imag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9052" y="1066539"/>
            <a:ext cx="6025896" cy="3010423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9AE7578-2CB2-4B85-B3B8-01FBDFFAE680}"/>
              </a:ext>
            </a:extLst>
          </p:cNvPr>
          <p:cNvSpPr/>
          <p:nvPr/>
        </p:nvSpPr>
        <p:spPr>
          <a:xfrm>
            <a:off x="6660108" y="3480179"/>
            <a:ext cx="1392071" cy="5078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800">
                <a:solidFill>
                  <a:schemeClr val="tx1"/>
                </a:solidFill>
              </a:rPr>
              <a:t>Traffic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EAB1DCB-F7A0-4190-850D-B9DD2F722665}"/>
              </a:ext>
            </a:extLst>
          </p:cNvPr>
          <p:cNvSpPr/>
          <p:nvPr/>
        </p:nvSpPr>
        <p:spPr>
          <a:xfrm>
            <a:off x="177149" y="901308"/>
            <a:ext cx="1955041" cy="5078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800">
                <a:solidFill>
                  <a:schemeClr val="tx1"/>
                </a:solidFill>
              </a:rPr>
              <a:t>Nb of </a:t>
            </a:r>
            <a:r>
              <a:rPr lang="fr-FR" sz="1800" err="1">
                <a:solidFill>
                  <a:schemeClr val="tx1"/>
                </a:solidFill>
              </a:rPr>
              <a:t>defects</a:t>
            </a:r>
            <a:r>
              <a:rPr lang="fr-FR" sz="1800">
                <a:solidFill>
                  <a:schemeClr val="tx1"/>
                </a:solidFill>
              </a:rPr>
              <a:t> / km</a:t>
            </a:r>
          </a:p>
        </p:txBody>
      </p:sp>
    </p:spTree>
    <p:extLst>
      <p:ext uri="{BB962C8B-B14F-4D97-AF65-F5344CB8AC3E}">
        <p14:creationId xmlns:p14="http://schemas.microsoft.com/office/powerpoint/2010/main" val="342134933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177149" y="0"/>
            <a:ext cx="8789703" cy="623888"/>
          </a:xfrm>
          <a:prstGeom prst="rect">
            <a:avLst/>
          </a:prstGeom>
        </p:spPr>
        <p:txBody>
          <a:bodyPr anchor="ctr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0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5pPr>
            <a:lvl6pPr marL="38962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6pPr>
            <a:lvl7pPr marL="77925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7pPr>
            <a:lvl8pPr marL="116887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8pPr>
            <a:lvl9pPr marL="1558503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fr-FR" sz="2000" dirty="0"/>
              <a:t>… lots of </a:t>
            </a:r>
            <a:r>
              <a:rPr lang="fr-FR" sz="2000" dirty="0" err="1"/>
              <a:t>optimization</a:t>
            </a:r>
            <a:endParaRPr lang="fr-FR" sz="2000" dirty="0"/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062" r="2345"/>
          <a:stretch/>
        </p:blipFill>
        <p:spPr>
          <a:xfrm>
            <a:off x="2167466" y="623888"/>
            <a:ext cx="4809067" cy="411324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" name="Rectangle 2"/>
              <p:cNvSpPr/>
              <p:nvPr/>
            </p:nvSpPr>
            <p:spPr>
              <a:xfrm>
                <a:off x="2641599" y="3962401"/>
                <a:ext cx="936978" cy="508000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 anchorCtr="0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fr-FR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fr-FR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𝑎</m:t>
                          </m:r>
                        </m:e>
                        <m:sub>
                          <m:r>
                            <a:rPr lang="fr-FR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0</m:t>
                          </m:r>
                        </m:sub>
                      </m:sSub>
                    </m:oMath>
                  </m:oMathPara>
                </a14:m>
                <a:endParaRPr lang="en-US" err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mc:Choice>
        <mc:Fallback xmlns="">
          <p:sp>
            <p:nvSpPr>
              <p:cNvPr id="3" name="Rectangle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41599" y="3962401"/>
                <a:ext cx="936978" cy="50800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  <a:ln w="9525">
                <a:noFill/>
              </a:ln>
              <a:effectLst/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Rectangle 5"/>
              <p:cNvSpPr/>
              <p:nvPr/>
            </p:nvSpPr>
            <p:spPr>
              <a:xfrm>
                <a:off x="5243688" y="4114801"/>
                <a:ext cx="936978" cy="508000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 anchorCtr="0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fr-FR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cs typeface="Arial" pitchFamily="34" charset="0"/>
                            </a:rPr>
                          </m:ctrlPr>
                        </m:sSubPr>
                        <m:e>
                          <m:r>
                            <a:rPr lang="fr-FR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𝑎</m:t>
                          </m:r>
                        </m:e>
                        <m:sub>
                          <m:r>
                            <a:rPr lang="fr-FR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cs typeface="Arial" pitchFamily="34" charset="0"/>
                            </a:rPr>
                            <m:t>1</m:t>
                          </m:r>
                        </m:sub>
                      </m:sSub>
                    </m:oMath>
                  </m:oMathPara>
                </a14:m>
                <a:endParaRPr lang="en-US" err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mc:Choice>
        <mc:Fallback xmlns="">
          <p:sp>
            <p:nvSpPr>
              <p:cNvPr id="6" name="Rectangle 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43688" y="4114801"/>
                <a:ext cx="936978" cy="508000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  <a:ln w="9525">
                <a:noFill/>
              </a:ln>
              <a:effectLst/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ZoneTexte 7"/>
              <p:cNvSpPr txBox="1"/>
              <p:nvPr/>
            </p:nvSpPr>
            <p:spPr>
              <a:xfrm>
                <a:off x="523924" y="819325"/>
                <a:ext cx="1798569" cy="67223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b="0" i="1" smtClean="0">
                          <a:latin typeface="Cambria Math" panose="02040503050406030204" pitchFamily="18" charset="0"/>
                        </a:rPr>
                        <m:t>𝐸</m:t>
                      </m:r>
                      <m:d>
                        <m:dPr>
                          <m:ctrlPr>
                            <a:rPr lang="fr-FR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fr-FR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r-FR" b="0" i="1" smtClean="0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fr-FR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sub>
                          </m:sSub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,</m:t>
                          </m:r>
                          <m:sSub>
                            <m:sSubPr>
                              <m:ctrlPr>
                                <a:rPr lang="fr-FR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r-FR" b="0" i="1" smtClean="0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fr-FR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e>
                      </m:d>
                      <m:r>
                        <a:rPr lang="fr-FR" b="0" i="1" smtClean="0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supHide m:val="on"/>
                          <m:ctrlPr>
                            <a:rPr lang="fr-FR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/>
                        <m:e>
                          <m:sSub>
                            <m:sSubPr>
                              <m:ctrlPr>
                                <a:rPr lang="fr-FR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r-FR" b="0" i="1" smtClean="0">
                                  <a:latin typeface="Cambria Math" panose="02040503050406030204" pitchFamily="18" charset="0"/>
                                </a:rPr>
                                <m:t>𝛿</m:t>
                              </m:r>
                            </m:e>
                            <m:sub>
                              <m:r>
                                <a:rPr lang="fr-FR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e>
                      </m:nary>
                    </m:oMath>
                  </m:oMathPara>
                </a14:m>
                <a:endParaRPr lang="en-US" err="1"/>
              </a:p>
            </p:txBody>
          </p:sp>
        </mc:Choice>
        <mc:Fallback xmlns="">
          <p:sp>
            <p:nvSpPr>
              <p:cNvPr id="8" name="ZoneTexte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3924" y="819325"/>
                <a:ext cx="1798569" cy="672235"/>
              </a:xfrm>
              <a:prstGeom prst="rect">
                <a:avLst/>
              </a:prstGeom>
              <a:blipFill>
                <a:blip r:embed="rId5"/>
                <a:stretch>
                  <a:fillRect t="-111712" r="-47797" b="-129730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3832138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177149" y="0"/>
            <a:ext cx="8789703" cy="623888"/>
          </a:xfrm>
          <a:prstGeom prst="rect">
            <a:avLst/>
          </a:prstGeom>
        </p:spPr>
        <p:txBody>
          <a:bodyPr anchor="ctr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0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5pPr>
            <a:lvl6pPr marL="38962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6pPr>
            <a:lvl7pPr marL="77925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7pPr>
            <a:lvl8pPr marL="116887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8pPr>
            <a:lvl9pPr marL="1558503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fr-FR" sz="2000" dirty="0"/>
              <a:t>… and code</a:t>
            </a: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02" b="29052"/>
          <a:stretch/>
        </p:blipFill>
        <p:spPr>
          <a:xfrm>
            <a:off x="2504958" y="623888"/>
            <a:ext cx="4134084" cy="4117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79037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50" y="1017695"/>
            <a:ext cx="5011628" cy="3457314"/>
          </a:xfrm>
          <a:prstGeom prst="rect">
            <a:avLst/>
          </a:prstGeom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177149" y="0"/>
            <a:ext cx="8789703" cy="623888"/>
          </a:xfrm>
          <a:prstGeom prst="rect">
            <a:avLst/>
          </a:prstGeom>
        </p:spPr>
        <p:txBody>
          <a:bodyPr anchor="ctr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0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5pPr>
            <a:lvl6pPr marL="38962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6pPr>
            <a:lvl7pPr marL="77925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7pPr>
            <a:lvl8pPr marL="116887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8pPr>
            <a:lvl9pPr marL="1558503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fr-FR" sz="2000" dirty="0"/>
              <a:t>Know how to </a:t>
            </a:r>
            <a:r>
              <a:rPr lang="fr-FR" sz="2000" dirty="0" err="1"/>
              <a:t>learn</a:t>
            </a:r>
            <a:r>
              <a:rPr lang="fr-FR" sz="2000" dirty="0"/>
              <a:t> and </a:t>
            </a:r>
            <a:r>
              <a:rPr lang="fr-FR" sz="2000" dirty="0" err="1"/>
              <a:t>understand</a:t>
            </a:r>
            <a:endParaRPr lang="fr-FR" sz="2000" dirty="0"/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4229" y="1812832"/>
            <a:ext cx="3939771" cy="933520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5745153" y="2746352"/>
            <a:ext cx="285792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fr-FR" sz="1600" dirty="0">
                <a:solidFill>
                  <a:srgbClr val="675C53"/>
                </a:solidFill>
                <a:latin typeface="Avenir LT Std 45 Book"/>
              </a:rPr>
              <a:t>Pressure at a surface point</a:t>
            </a:r>
          </a:p>
        </p:txBody>
      </p:sp>
    </p:spTree>
    <p:extLst>
      <p:ext uri="{BB962C8B-B14F-4D97-AF65-F5344CB8AC3E}">
        <p14:creationId xmlns:p14="http://schemas.microsoft.com/office/powerpoint/2010/main" val="185919589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2074" y="714867"/>
            <a:ext cx="6419850" cy="3162300"/>
          </a:xfrm>
          <a:prstGeom prst="rect">
            <a:avLst/>
          </a:prstGeom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177149" y="0"/>
            <a:ext cx="8789703" cy="623888"/>
          </a:xfrm>
          <a:prstGeom prst="rect">
            <a:avLst/>
          </a:prstGeom>
        </p:spPr>
        <p:txBody>
          <a:bodyPr anchor="ctr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0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5pPr>
            <a:lvl6pPr marL="38962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6pPr>
            <a:lvl7pPr marL="77925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7pPr>
            <a:lvl8pPr marL="116887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8pPr>
            <a:lvl9pPr marL="1558503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fr-FR" sz="2000" dirty="0" err="1"/>
              <a:t>Develop</a:t>
            </a:r>
            <a:r>
              <a:rPr lang="fr-FR" sz="2000" dirty="0"/>
              <a:t> intuitions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177150" y="4272278"/>
            <a:ext cx="87897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fr-FR" sz="1600" dirty="0">
                <a:solidFill>
                  <a:srgbClr val="675C53"/>
                </a:solidFill>
                <a:latin typeface="Avenir LT Std 45 Book"/>
              </a:rPr>
              <a:t>ADHESION (GRIP) COEFFICIENT AS A FUNCTION OF RAIL STATE AND TRAIN SPEED</a:t>
            </a:r>
          </a:p>
        </p:txBody>
      </p:sp>
    </p:spTree>
    <p:extLst>
      <p:ext uri="{BB962C8B-B14F-4D97-AF65-F5344CB8AC3E}">
        <p14:creationId xmlns:p14="http://schemas.microsoft.com/office/powerpoint/2010/main" val="38072280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177149" y="0"/>
            <a:ext cx="8789703" cy="623888"/>
          </a:xfrm>
          <a:prstGeom prst="rect">
            <a:avLst/>
          </a:prstGeom>
        </p:spPr>
        <p:txBody>
          <a:bodyPr anchor="ctr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0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5pPr>
            <a:lvl6pPr marL="38962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6pPr>
            <a:lvl7pPr marL="77925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7pPr>
            <a:lvl8pPr marL="116887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8pPr>
            <a:lvl9pPr marL="1558503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fr-FR" sz="2000" dirty="0"/>
              <a:t>Know </a:t>
            </a:r>
            <a:r>
              <a:rPr lang="fr-FR" sz="2000" dirty="0" err="1"/>
              <a:t>what</a:t>
            </a:r>
            <a:r>
              <a:rPr lang="fr-FR" sz="2000" dirty="0"/>
              <a:t> </a:t>
            </a:r>
            <a:r>
              <a:rPr lang="fr-FR" sz="2000" dirty="0" err="1"/>
              <a:t>is</a:t>
            </a:r>
            <a:r>
              <a:rPr lang="fr-FR" sz="2000" dirty="0"/>
              <a:t> important and </a:t>
            </a:r>
            <a:r>
              <a:rPr lang="fr-FR" sz="2000" dirty="0" err="1"/>
              <a:t>what</a:t>
            </a:r>
            <a:r>
              <a:rPr lang="fr-FR" sz="2000" dirty="0"/>
              <a:t> to </a:t>
            </a:r>
            <a:r>
              <a:rPr lang="fr-FR" sz="2000" dirty="0" err="1"/>
              <a:t>neglect</a:t>
            </a:r>
            <a:endParaRPr lang="fr-FR" sz="2000" dirty="0"/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5" t="6375" r="4894" b="6997"/>
          <a:stretch/>
        </p:blipFill>
        <p:spPr>
          <a:xfrm>
            <a:off x="2784970" y="1211580"/>
            <a:ext cx="1342285" cy="1295732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4343" y="1281052"/>
            <a:ext cx="1156788" cy="1156788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9356" y="2824118"/>
            <a:ext cx="1740255" cy="1107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61363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177149" y="0"/>
            <a:ext cx="8789703" cy="623888"/>
          </a:xfrm>
          <a:prstGeom prst="rect">
            <a:avLst/>
          </a:prstGeom>
        </p:spPr>
        <p:txBody>
          <a:bodyPr anchor="ctr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0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5pPr>
            <a:lvl6pPr marL="389626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6pPr>
            <a:lvl7pPr marL="77925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7pPr>
            <a:lvl8pPr marL="1168878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8pPr>
            <a:lvl9pPr marL="1558503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fr-FR" sz="2000" dirty="0"/>
              <a:t>Be good at </a:t>
            </a:r>
            <a:r>
              <a:rPr lang="fr-FR" sz="2000" dirty="0" err="1"/>
              <a:t>explaining</a:t>
            </a:r>
            <a:r>
              <a:rPr lang="fr-FR" sz="2000" dirty="0"/>
              <a:t> and </a:t>
            </a:r>
            <a:r>
              <a:rPr lang="fr-FR" sz="2000" dirty="0" err="1"/>
              <a:t>convincing</a:t>
            </a:r>
            <a:endParaRPr lang="fr-FR" sz="2000" dirty="0"/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0784" y="623888"/>
            <a:ext cx="4282432" cy="3728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459745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\\commun.ad.sncf.fr\campus\Home\RESSOURCES\Visuels\logo-sncf-peti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1132" y="4392011"/>
            <a:ext cx="966353" cy="5606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re 1"/>
          <p:cNvSpPr txBox="1">
            <a:spLocks/>
          </p:cNvSpPr>
          <p:nvPr/>
        </p:nvSpPr>
        <p:spPr bwMode="gray">
          <a:xfrm>
            <a:off x="2680282" y="1020855"/>
            <a:ext cx="5828097" cy="190095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 defTabSz="91436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kern="1200" cap="all" baseline="0">
                <a:solidFill>
                  <a:srgbClr val="FFFFFF"/>
                </a:solidFill>
                <a:latin typeface="Avenir LT Std 65 Medium" pitchFamily="34" charset="0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fr-FR" b="1" dirty="0" err="1"/>
              <a:t>Thank</a:t>
            </a:r>
            <a:r>
              <a:rPr lang="fr-FR" b="1" dirty="0"/>
              <a:t> </a:t>
            </a:r>
            <a:r>
              <a:rPr lang="fr-FR" b="1" dirty="0" err="1"/>
              <a:t>you</a:t>
            </a:r>
            <a:endParaRPr lang="fr-FR" sz="2800" b="1" dirty="0"/>
          </a:p>
        </p:txBody>
      </p:sp>
      <p:sp>
        <p:nvSpPr>
          <p:cNvPr id="9" name="Organigramme : Connecteur 8"/>
          <p:cNvSpPr/>
          <p:nvPr/>
        </p:nvSpPr>
        <p:spPr>
          <a:xfrm>
            <a:off x="636233" y="1071334"/>
            <a:ext cx="1800000" cy="1800000"/>
          </a:xfrm>
          <a:prstGeom prst="flowChartConnector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0" y="4478345"/>
            <a:ext cx="1541575" cy="387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0741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/>
    </mc:Choice>
    <mc:Fallback xmlns="">
      <p:transition spd="slow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1"/>
          <p:cNvSpPr txBox="1">
            <a:spLocks/>
          </p:cNvSpPr>
          <p:nvPr/>
        </p:nvSpPr>
        <p:spPr>
          <a:xfrm>
            <a:off x="434400" y="272705"/>
            <a:ext cx="8572440" cy="63026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00" b="0" kern="1200" cap="all" baseline="0">
                <a:solidFill>
                  <a:schemeClr val="bg1">
                    <a:alpha val="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400"/>
            <a:r>
              <a:rPr lang="fr-FR" sz="2400" dirty="0">
                <a:solidFill>
                  <a:srgbClr val="82BE00"/>
                </a:solidFill>
                <a:latin typeface="Avenir LT Std 65 Medium"/>
                <a:ea typeface="+mj-lt"/>
                <a:cs typeface="+mj-lt"/>
              </a:rPr>
              <a:t>SNCF: 5 millions voyages / </a:t>
            </a:r>
            <a:r>
              <a:rPr lang="fr-FR" sz="2400" dirty="0" err="1">
                <a:solidFill>
                  <a:srgbClr val="82BE00"/>
                </a:solidFill>
                <a:latin typeface="Avenir LT Std 65 Medium"/>
                <a:ea typeface="+mj-lt"/>
                <a:cs typeface="+mj-lt"/>
              </a:rPr>
              <a:t>day</a:t>
            </a:r>
            <a:r>
              <a:rPr lang="fr-FR" sz="2400" dirty="0">
                <a:solidFill>
                  <a:srgbClr val="82BE00"/>
                </a:solidFill>
                <a:latin typeface="Avenir LT Std 65 Medium"/>
                <a:ea typeface="+mj-lt"/>
                <a:cs typeface="+mj-lt"/>
              </a:rPr>
              <a:t> in France</a:t>
            </a:r>
            <a:endParaRPr lang="fr-FR" sz="2400" dirty="0">
              <a:solidFill>
                <a:srgbClr val="82BE00"/>
              </a:solidFill>
              <a:latin typeface="Avenir LT Std 65 Medium"/>
              <a:ea typeface="+mn-ea"/>
              <a:cs typeface="+mn-cs"/>
            </a:endParaRP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44E16140-5F3D-47B5-8566-DD2688E3EB31}"/>
              </a:ext>
            </a:extLst>
          </p:cNvPr>
          <p:cNvGrpSpPr/>
          <p:nvPr/>
        </p:nvGrpSpPr>
        <p:grpSpPr>
          <a:xfrm>
            <a:off x="434400" y="1339683"/>
            <a:ext cx="1766700" cy="1459357"/>
            <a:chOff x="3212691" y="1251573"/>
            <a:chExt cx="2568677" cy="154541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83D6FBE-FEA6-414F-B9AD-21621744599E}"/>
                </a:ext>
              </a:extLst>
            </p:cNvPr>
            <p:cNvSpPr/>
            <p:nvPr/>
          </p:nvSpPr>
          <p:spPr>
            <a:xfrm>
              <a:off x="3212691" y="1251573"/>
              <a:ext cx="2568677" cy="399740"/>
            </a:xfrm>
            <a:prstGeom prst="rect">
              <a:avLst/>
            </a:prstGeom>
            <a:solidFill>
              <a:srgbClr val="00B050"/>
            </a:solidFill>
            <a:ln w="25400" cap="flat" cmpd="sng" algn="ctr">
              <a:solidFill>
                <a:srgbClr val="00B05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342900">
                <a:defRPr/>
              </a:pPr>
              <a:r>
                <a:rPr lang="fr-FR" sz="1800" kern="0" dirty="0">
                  <a:solidFill>
                    <a:prstClr val="white"/>
                  </a:solidFill>
                  <a:latin typeface="Avenir LT Std 45 Book"/>
                </a:rPr>
                <a:t>Operations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18F0B5E-B06D-4AEC-96ED-9DA848BE0F7F}"/>
                </a:ext>
              </a:extLst>
            </p:cNvPr>
            <p:cNvSpPr/>
            <p:nvPr/>
          </p:nvSpPr>
          <p:spPr>
            <a:xfrm>
              <a:off x="3212691" y="1651313"/>
              <a:ext cx="2568677" cy="1145670"/>
            </a:xfrm>
            <a:prstGeom prst="rect">
              <a:avLst/>
            </a:prstGeom>
            <a:noFill/>
            <a:ln w="25400" cap="flat" cmpd="sng" algn="ctr">
              <a:solidFill>
                <a:srgbClr val="00B050"/>
              </a:solidFill>
              <a:prstDash val="solid"/>
            </a:ln>
            <a:effectLst/>
          </p:spPr>
          <p:txBody>
            <a:bodyPr rtlCol="0" anchor="t"/>
            <a:lstStyle/>
            <a:p>
              <a:pPr defTabSz="342900">
                <a:defRPr/>
              </a:pPr>
              <a:endParaRPr lang="fr-FR" sz="1200" kern="0" dirty="0">
                <a:solidFill>
                  <a:srgbClr val="3C3732"/>
                </a:solidFill>
                <a:latin typeface="Avenir LT Std 45 Book"/>
              </a:endParaRPr>
            </a:p>
            <a:p>
              <a:pPr defTabSz="342900">
                <a:defRPr/>
              </a:pPr>
              <a:r>
                <a:rPr lang="fr-FR" sz="1200" kern="0" dirty="0">
                  <a:solidFill>
                    <a:srgbClr val="3C3732"/>
                  </a:solidFill>
                  <a:latin typeface="Avenir LT Std 45 Book"/>
                </a:rPr>
                <a:t>15 000 trains / </a:t>
              </a:r>
              <a:r>
                <a:rPr lang="fr-FR" sz="1200" kern="0" dirty="0" err="1">
                  <a:solidFill>
                    <a:srgbClr val="3C3732"/>
                  </a:solidFill>
                  <a:latin typeface="Avenir LT Std 45 Book"/>
                </a:rPr>
                <a:t>day</a:t>
              </a:r>
              <a:endParaRPr lang="fr-FR" sz="1200" kern="0" dirty="0">
                <a:solidFill>
                  <a:srgbClr val="3C3732"/>
                </a:solidFill>
                <a:latin typeface="Avenir LT Std 45 Book"/>
              </a:endParaRPr>
            </a:p>
            <a:p>
              <a:pPr defTabSz="342900">
                <a:defRPr/>
              </a:pPr>
              <a:endParaRPr lang="fr-FR" sz="1200" kern="0" dirty="0">
                <a:solidFill>
                  <a:srgbClr val="3C3732"/>
                </a:solidFill>
                <a:latin typeface="Avenir LT Std 45 Book"/>
              </a:endParaRPr>
            </a:p>
            <a:p>
              <a:pPr defTabSz="342900">
                <a:defRPr/>
              </a:pPr>
              <a:r>
                <a:rPr lang="fr-FR" sz="1200" kern="0" dirty="0">
                  <a:solidFill>
                    <a:srgbClr val="3C3732"/>
                  </a:solidFill>
                  <a:latin typeface="Avenir LT Std 45 Book"/>
                </a:rPr>
                <a:t>100 000 000 train tickets </a:t>
              </a:r>
              <a:r>
                <a:rPr lang="fr-FR" sz="1200" kern="0" dirty="0" err="1">
                  <a:solidFill>
                    <a:srgbClr val="3C3732"/>
                  </a:solidFill>
                  <a:latin typeface="Avenir LT Std 45 Book"/>
                </a:rPr>
                <a:t>sold</a:t>
              </a:r>
              <a:r>
                <a:rPr lang="fr-FR" sz="1200" kern="0" dirty="0">
                  <a:solidFill>
                    <a:srgbClr val="3C3732"/>
                  </a:solidFill>
                  <a:latin typeface="Avenir LT Std 45 Book"/>
                </a:rPr>
                <a:t> / </a:t>
              </a:r>
              <a:r>
                <a:rPr lang="fr-FR" sz="1200" kern="0" dirty="0" err="1">
                  <a:solidFill>
                    <a:srgbClr val="3C3732"/>
                  </a:solidFill>
                  <a:latin typeface="Avenir LT Std 45 Book"/>
                </a:rPr>
                <a:t>year</a:t>
              </a:r>
              <a:r>
                <a:rPr lang="fr-FR" sz="1200" kern="0" dirty="0">
                  <a:solidFill>
                    <a:srgbClr val="3C3732"/>
                  </a:solidFill>
                  <a:latin typeface="Avenir LT Std 45 Book"/>
                </a:rPr>
                <a:t> (</a:t>
              </a:r>
              <a:r>
                <a:rPr lang="fr-FR" sz="1200" kern="0" dirty="0" err="1">
                  <a:solidFill>
                    <a:srgbClr val="3C3732"/>
                  </a:solidFill>
                  <a:latin typeface="Avenir LT Std 45 Book"/>
                </a:rPr>
                <a:t>oui.sncf</a:t>
              </a:r>
              <a:r>
                <a:rPr lang="fr-FR" sz="1200" kern="0" dirty="0">
                  <a:solidFill>
                    <a:srgbClr val="3C3732"/>
                  </a:solidFill>
                  <a:latin typeface="Avenir LT Std 45 Book"/>
                </a:rPr>
                <a:t>)</a:t>
              </a:r>
            </a:p>
          </p:txBody>
        </p:sp>
      </p:grp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787972F6-FD37-43ED-9D7A-FC71BA4ADA6C}"/>
              </a:ext>
            </a:extLst>
          </p:cNvPr>
          <p:cNvGrpSpPr/>
          <p:nvPr/>
        </p:nvGrpSpPr>
        <p:grpSpPr>
          <a:xfrm>
            <a:off x="2654440" y="1339684"/>
            <a:ext cx="1766700" cy="1459357"/>
            <a:chOff x="6152537" y="1251573"/>
            <a:chExt cx="2568677" cy="1708883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FAF42BC-5BF1-402F-BA8F-BF944CC66BB9}"/>
                </a:ext>
              </a:extLst>
            </p:cNvPr>
            <p:cNvSpPr/>
            <p:nvPr/>
          </p:nvSpPr>
          <p:spPr>
            <a:xfrm>
              <a:off x="6152537" y="1251573"/>
              <a:ext cx="2568677" cy="399740"/>
            </a:xfrm>
            <a:prstGeom prst="rect">
              <a:avLst/>
            </a:prstGeom>
            <a:solidFill>
              <a:srgbClr val="0070C0"/>
            </a:solidFill>
            <a:ln w="25400" cap="flat" cmpd="sng" algn="ctr">
              <a:solidFill>
                <a:srgbClr val="0070C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342900">
                <a:defRPr/>
              </a:pPr>
              <a:r>
                <a:rPr lang="fr-FR" sz="1800" kern="0" dirty="0">
                  <a:solidFill>
                    <a:prstClr val="white"/>
                  </a:solidFill>
                  <a:latin typeface="Avenir LT Std 45 Book"/>
                </a:rPr>
                <a:t>Energy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878E732-FC8B-4676-8E0F-FEBB157C5918}"/>
                </a:ext>
              </a:extLst>
            </p:cNvPr>
            <p:cNvSpPr/>
            <p:nvPr/>
          </p:nvSpPr>
          <p:spPr>
            <a:xfrm>
              <a:off x="6152537" y="1651313"/>
              <a:ext cx="2568677" cy="1309143"/>
            </a:xfrm>
            <a:prstGeom prst="rect">
              <a:avLst/>
            </a:prstGeom>
            <a:noFill/>
            <a:ln w="25400" cap="flat" cmpd="sng" algn="ctr">
              <a:solidFill>
                <a:srgbClr val="0070C0"/>
              </a:solidFill>
              <a:prstDash val="solid"/>
            </a:ln>
            <a:effectLst/>
          </p:spPr>
          <p:txBody>
            <a:bodyPr rtlCol="0" anchor="t"/>
            <a:lstStyle/>
            <a:p>
              <a:pPr defTabSz="342900">
                <a:defRPr/>
              </a:pPr>
              <a:endParaRPr lang="fr-FR" sz="1200" kern="0" dirty="0">
                <a:solidFill>
                  <a:srgbClr val="3C3732"/>
                </a:solidFill>
                <a:latin typeface="Avenir LT Std 45 Book"/>
              </a:endParaRPr>
            </a:p>
            <a:p>
              <a:pPr defTabSz="342900">
                <a:defRPr/>
              </a:pPr>
              <a:r>
                <a:rPr lang="fr-FR" sz="1200" dirty="0"/>
                <a:t>14 TWh / </a:t>
              </a:r>
              <a:r>
                <a:rPr lang="fr-FR" sz="1200" dirty="0" err="1"/>
                <a:t>year</a:t>
              </a:r>
              <a:endParaRPr lang="fr-FR" sz="1200" dirty="0"/>
            </a:p>
            <a:p>
              <a:pPr defTabSz="342900">
                <a:defRPr/>
              </a:pPr>
              <a:endParaRPr lang="fr-FR" sz="1200" dirty="0">
                <a:solidFill>
                  <a:srgbClr val="3C3732"/>
                </a:solidFill>
                <a:latin typeface="Avenir LT Std 45 Book"/>
              </a:endParaRPr>
            </a:p>
            <a:p>
              <a:pPr defTabSz="342900">
                <a:defRPr/>
              </a:pPr>
              <a:r>
                <a:rPr lang="fr-FR" sz="1200" dirty="0">
                  <a:solidFill>
                    <a:srgbClr val="3C3732"/>
                  </a:solidFill>
                  <a:latin typeface="Avenir LT Std 45 Book"/>
                </a:rPr>
                <a:t>(8 TWh for traction)</a:t>
              </a:r>
            </a:p>
          </p:txBody>
        </p:sp>
      </p:grpSp>
      <p:pic>
        <p:nvPicPr>
          <p:cNvPr id="29" name="Image 28">
            <a:extLst>
              <a:ext uri="{FF2B5EF4-FFF2-40B4-BE49-F238E27FC236}">
                <a16:creationId xmlns:a16="http://schemas.microsoft.com/office/drawing/2014/main" id="{C18092F7-FDA0-4243-9A99-224C8012C2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1100" y="3822554"/>
            <a:ext cx="2793559" cy="1025970"/>
          </a:xfrm>
          <a:prstGeom prst="rect">
            <a:avLst/>
          </a:prstGeom>
        </p:spPr>
      </p:pic>
      <p:pic>
        <p:nvPicPr>
          <p:cNvPr id="31" name="Image 30" descr="Une image contenant carte&#10;&#10;Description générée automatiquement">
            <a:extLst>
              <a:ext uri="{FF2B5EF4-FFF2-40B4-BE49-F238E27FC236}">
                <a16:creationId xmlns:a16="http://schemas.microsoft.com/office/drawing/2014/main" id="{7E603394-742B-44EA-AA93-66C17D0402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6196" y="3176521"/>
            <a:ext cx="1292902" cy="1077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5429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1"/>
          <p:cNvSpPr txBox="1">
            <a:spLocks/>
          </p:cNvSpPr>
          <p:nvPr/>
        </p:nvSpPr>
        <p:spPr>
          <a:xfrm>
            <a:off x="434400" y="272705"/>
            <a:ext cx="8572440" cy="63026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00" b="0" kern="1200" cap="all" baseline="0">
                <a:solidFill>
                  <a:schemeClr val="bg1">
                    <a:alpha val="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400"/>
            <a:r>
              <a:rPr lang="fr-FR" sz="2400" dirty="0">
                <a:solidFill>
                  <a:srgbClr val="82BE00"/>
                </a:solidFill>
                <a:latin typeface="Avenir LT Std 65 Medium"/>
                <a:ea typeface="+mj-lt"/>
                <a:cs typeface="+mj-lt"/>
              </a:rPr>
              <a:t>SNCF: 5 millions voyages / </a:t>
            </a:r>
            <a:r>
              <a:rPr lang="fr-FR" sz="2400" dirty="0" err="1">
                <a:solidFill>
                  <a:srgbClr val="82BE00"/>
                </a:solidFill>
                <a:latin typeface="Avenir LT Std 65 Medium"/>
                <a:ea typeface="+mj-lt"/>
                <a:cs typeface="+mj-lt"/>
              </a:rPr>
              <a:t>day</a:t>
            </a:r>
            <a:r>
              <a:rPr lang="fr-FR" sz="2400" dirty="0">
                <a:solidFill>
                  <a:srgbClr val="82BE00"/>
                </a:solidFill>
                <a:latin typeface="Avenir LT Std 65 Medium"/>
                <a:ea typeface="+mj-lt"/>
                <a:cs typeface="+mj-lt"/>
              </a:rPr>
              <a:t> in France</a:t>
            </a:r>
            <a:endParaRPr lang="fr-FR" sz="2400" dirty="0">
              <a:solidFill>
                <a:srgbClr val="82BE00"/>
              </a:solidFill>
              <a:latin typeface="Avenir LT Std 65 Medium"/>
              <a:ea typeface="+mn-ea"/>
              <a:cs typeface="+mn-cs"/>
            </a:endParaRP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44E16140-5F3D-47B5-8566-DD2688E3EB31}"/>
              </a:ext>
            </a:extLst>
          </p:cNvPr>
          <p:cNvGrpSpPr/>
          <p:nvPr/>
        </p:nvGrpSpPr>
        <p:grpSpPr>
          <a:xfrm>
            <a:off x="434400" y="1339683"/>
            <a:ext cx="1766700" cy="1459357"/>
            <a:chOff x="3212691" y="1251573"/>
            <a:chExt cx="2568677" cy="154541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83D6FBE-FEA6-414F-B9AD-21621744599E}"/>
                </a:ext>
              </a:extLst>
            </p:cNvPr>
            <p:cNvSpPr/>
            <p:nvPr/>
          </p:nvSpPr>
          <p:spPr>
            <a:xfrm>
              <a:off x="3212691" y="1251573"/>
              <a:ext cx="2568677" cy="399740"/>
            </a:xfrm>
            <a:prstGeom prst="rect">
              <a:avLst/>
            </a:prstGeom>
            <a:solidFill>
              <a:srgbClr val="00B050"/>
            </a:solidFill>
            <a:ln w="25400" cap="flat" cmpd="sng" algn="ctr">
              <a:solidFill>
                <a:srgbClr val="00B05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342900">
                <a:defRPr/>
              </a:pPr>
              <a:r>
                <a:rPr lang="fr-FR" sz="1800" kern="0" dirty="0">
                  <a:solidFill>
                    <a:prstClr val="white"/>
                  </a:solidFill>
                  <a:latin typeface="Avenir LT Std 45 Book"/>
                </a:rPr>
                <a:t>Operations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18F0B5E-B06D-4AEC-96ED-9DA848BE0F7F}"/>
                </a:ext>
              </a:extLst>
            </p:cNvPr>
            <p:cNvSpPr/>
            <p:nvPr/>
          </p:nvSpPr>
          <p:spPr>
            <a:xfrm>
              <a:off x="3212691" y="1651313"/>
              <a:ext cx="2568677" cy="1145670"/>
            </a:xfrm>
            <a:prstGeom prst="rect">
              <a:avLst/>
            </a:prstGeom>
            <a:noFill/>
            <a:ln w="25400" cap="flat" cmpd="sng" algn="ctr">
              <a:solidFill>
                <a:srgbClr val="00B050"/>
              </a:solidFill>
              <a:prstDash val="solid"/>
            </a:ln>
            <a:effectLst/>
          </p:spPr>
          <p:txBody>
            <a:bodyPr rtlCol="0" anchor="t"/>
            <a:lstStyle/>
            <a:p>
              <a:pPr defTabSz="342900">
                <a:defRPr/>
              </a:pPr>
              <a:endParaRPr lang="fr-FR" sz="1200" kern="0" dirty="0">
                <a:solidFill>
                  <a:srgbClr val="3C3732"/>
                </a:solidFill>
                <a:latin typeface="Avenir LT Std 45 Book"/>
              </a:endParaRPr>
            </a:p>
            <a:p>
              <a:pPr defTabSz="342900">
                <a:defRPr/>
              </a:pPr>
              <a:r>
                <a:rPr lang="fr-FR" sz="1200" kern="0" dirty="0">
                  <a:solidFill>
                    <a:srgbClr val="3C3732"/>
                  </a:solidFill>
                  <a:latin typeface="Avenir LT Std 45 Book"/>
                </a:rPr>
                <a:t>15 000 trains / </a:t>
              </a:r>
              <a:r>
                <a:rPr lang="fr-FR" sz="1200" kern="0" dirty="0" err="1">
                  <a:solidFill>
                    <a:srgbClr val="3C3732"/>
                  </a:solidFill>
                  <a:latin typeface="Avenir LT Std 45 Book"/>
                </a:rPr>
                <a:t>day</a:t>
              </a:r>
              <a:endParaRPr lang="fr-FR" sz="1200" kern="0" dirty="0">
                <a:solidFill>
                  <a:srgbClr val="3C3732"/>
                </a:solidFill>
                <a:latin typeface="Avenir LT Std 45 Book"/>
              </a:endParaRPr>
            </a:p>
            <a:p>
              <a:pPr defTabSz="342900">
                <a:defRPr/>
              </a:pPr>
              <a:endParaRPr lang="fr-FR" sz="1200" kern="0" dirty="0">
                <a:solidFill>
                  <a:srgbClr val="3C3732"/>
                </a:solidFill>
                <a:latin typeface="Avenir LT Std 45 Book"/>
              </a:endParaRPr>
            </a:p>
            <a:p>
              <a:pPr defTabSz="342900">
                <a:defRPr/>
              </a:pPr>
              <a:r>
                <a:rPr lang="fr-FR" sz="1200" kern="0" dirty="0">
                  <a:solidFill>
                    <a:srgbClr val="3C3732"/>
                  </a:solidFill>
                  <a:latin typeface="Avenir LT Std 45 Book"/>
                </a:rPr>
                <a:t>100 000 000 train tickets </a:t>
              </a:r>
              <a:r>
                <a:rPr lang="fr-FR" sz="1200" kern="0" dirty="0" err="1">
                  <a:solidFill>
                    <a:srgbClr val="3C3732"/>
                  </a:solidFill>
                  <a:latin typeface="Avenir LT Std 45 Book"/>
                </a:rPr>
                <a:t>sold</a:t>
              </a:r>
              <a:r>
                <a:rPr lang="fr-FR" sz="1200" kern="0" dirty="0">
                  <a:solidFill>
                    <a:srgbClr val="3C3732"/>
                  </a:solidFill>
                  <a:latin typeface="Avenir LT Std 45 Book"/>
                </a:rPr>
                <a:t> / </a:t>
              </a:r>
              <a:r>
                <a:rPr lang="fr-FR" sz="1200" kern="0" dirty="0" err="1">
                  <a:solidFill>
                    <a:srgbClr val="3C3732"/>
                  </a:solidFill>
                  <a:latin typeface="Avenir LT Std 45 Book"/>
                </a:rPr>
                <a:t>year</a:t>
              </a:r>
              <a:r>
                <a:rPr lang="fr-FR" sz="1200" kern="0" dirty="0">
                  <a:solidFill>
                    <a:srgbClr val="3C3732"/>
                  </a:solidFill>
                  <a:latin typeface="Avenir LT Std 45 Book"/>
                </a:rPr>
                <a:t> (</a:t>
              </a:r>
              <a:r>
                <a:rPr lang="fr-FR" sz="1200" kern="0" dirty="0" err="1">
                  <a:solidFill>
                    <a:srgbClr val="3C3732"/>
                  </a:solidFill>
                  <a:latin typeface="Avenir LT Std 45 Book"/>
                </a:rPr>
                <a:t>oui.sncf</a:t>
              </a:r>
              <a:r>
                <a:rPr lang="fr-FR" sz="1200" kern="0" dirty="0">
                  <a:solidFill>
                    <a:srgbClr val="3C3732"/>
                  </a:solidFill>
                  <a:latin typeface="Avenir LT Std 45 Book"/>
                </a:rPr>
                <a:t>)</a:t>
              </a:r>
            </a:p>
          </p:txBody>
        </p:sp>
      </p:grp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787972F6-FD37-43ED-9D7A-FC71BA4ADA6C}"/>
              </a:ext>
            </a:extLst>
          </p:cNvPr>
          <p:cNvGrpSpPr/>
          <p:nvPr/>
        </p:nvGrpSpPr>
        <p:grpSpPr>
          <a:xfrm>
            <a:off x="2654440" y="1339684"/>
            <a:ext cx="1766700" cy="1459357"/>
            <a:chOff x="6152537" y="1251573"/>
            <a:chExt cx="2568677" cy="1708883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FAF42BC-5BF1-402F-BA8F-BF944CC66BB9}"/>
                </a:ext>
              </a:extLst>
            </p:cNvPr>
            <p:cNvSpPr/>
            <p:nvPr/>
          </p:nvSpPr>
          <p:spPr>
            <a:xfrm>
              <a:off x="6152537" y="1251573"/>
              <a:ext cx="2568677" cy="399740"/>
            </a:xfrm>
            <a:prstGeom prst="rect">
              <a:avLst/>
            </a:prstGeom>
            <a:solidFill>
              <a:srgbClr val="0070C0"/>
            </a:solidFill>
            <a:ln w="25400" cap="flat" cmpd="sng" algn="ctr">
              <a:solidFill>
                <a:srgbClr val="0070C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342900">
                <a:defRPr/>
              </a:pPr>
              <a:r>
                <a:rPr lang="fr-FR" sz="1800" kern="0" dirty="0">
                  <a:solidFill>
                    <a:prstClr val="white"/>
                  </a:solidFill>
                  <a:latin typeface="Avenir LT Std 45 Book"/>
                </a:rPr>
                <a:t>Energy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878E732-FC8B-4676-8E0F-FEBB157C5918}"/>
                </a:ext>
              </a:extLst>
            </p:cNvPr>
            <p:cNvSpPr/>
            <p:nvPr/>
          </p:nvSpPr>
          <p:spPr>
            <a:xfrm>
              <a:off x="6152537" y="1651313"/>
              <a:ext cx="2568677" cy="1309143"/>
            </a:xfrm>
            <a:prstGeom prst="rect">
              <a:avLst/>
            </a:prstGeom>
            <a:noFill/>
            <a:ln w="25400" cap="flat" cmpd="sng" algn="ctr">
              <a:solidFill>
                <a:srgbClr val="0070C0"/>
              </a:solidFill>
              <a:prstDash val="solid"/>
            </a:ln>
            <a:effectLst/>
          </p:spPr>
          <p:txBody>
            <a:bodyPr rtlCol="0" anchor="t"/>
            <a:lstStyle/>
            <a:p>
              <a:pPr defTabSz="342900">
                <a:defRPr/>
              </a:pPr>
              <a:endParaRPr lang="fr-FR" sz="1200" kern="0" dirty="0">
                <a:solidFill>
                  <a:srgbClr val="3C3732"/>
                </a:solidFill>
                <a:latin typeface="Avenir LT Std 45 Book"/>
              </a:endParaRPr>
            </a:p>
            <a:p>
              <a:pPr defTabSz="342900">
                <a:defRPr/>
              </a:pPr>
              <a:r>
                <a:rPr lang="fr-FR" sz="1200" dirty="0"/>
                <a:t>14 TWh / </a:t>
              </a:r>
              <a:r>
                <a:rPr lang="fr-FR" sz="1200" dirty="0" err="1"/>
                <a:t>year</a:t>
              </a:r>
              <a:endParaRPr lang="fr-FR" sz="1200" dirty="0"/>
            </a:p>
            <a:p>
              <a:pPr defTabSz="342900">
                <a:defRPr/>
              </a:pPr>
              <a:endParaRPr lang="fr-FR" sz="1200" dirty="0">
                <a:solidFill>
                  <a:srgbClr val="3C3732"/>
                </a:solidFill>
                <a:latin typeface="Avenir LT Std 45 Book"/>
              </a:endParaRPr>
            </a:p>
            <a:p>
              <a:pPr defTabSz="342900">
                <a:defRPr/>
              </a:pPr>
              <a:r>
                <a:rPr lang="fr-FR" sz="1200" dirty="0">
                  <a:solidFill>
                    <a:srgbClr val="3C3732"/>
                  </a:solidFill>
                  <a:latin typeface="Avenir LT Std 45 Book"/>
                </a:rPr>
                <a:t>(8 TWh for traction)</a:t>
              </a:r>
            </a:p>
          </p:txBody>
        </p:sp>
      </p:grp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559ED7E0-467A-47F3-9AC2-C6EB65D11580}"/>
              </a:ext>
            </a:extLst>
          </p:cNvPr>
          <p:cNvGrpSpPr/>
          <p:nvPr/>
        </p:nvGrpSpPr>
        <p:grpSpPr>
          <a:xfrm>
            <a:off x="4874480" y="1339683"/>
            <a:ext cx="1766700" cy="1459357"/>
            <a:chOff x="6152537" y="1251573"/>
            <a:chExt cx="2568677" cy="1708883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8643AE1-0B70-4CCF-84A0-A04B4488225A}"/>
                </a:ext>
              </a:extLst>
            </p:cNvPr>
            <p:cNvSpPr/>
            <p:nvPr/>
          </p:nvSpPr>
          <p:spPr>
            <a:xfrm>
              <a:off x="6152537" y="1251573"/>
              <a:ext cx="2568677" cy="399740"/>
            </a:xfrm>
            <a:prstGeom prst="rect">
              <a:avLst/>
            </a:prstGeom>
            <a:solidFill>
              <a:schemeClr val="tx2"/>
            </a:solidFill>
            <a:ln w="25400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342900">
                <a:defRPr/>
              </a:pPr>
              <a:r>
                <a:rPr lang="fr-FR" sz="1800" kern="0" dirty="0">
                  <a:solidFill>
                    <a:prstClr val="white"/>
                  </a:solidFill>
                  <a:latin typeface="Avenir LT Std 45 Book"/>
                </a:rPr>
                <a:t>Infrastructure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BCEA02C1-816D-4434-A6D1-95BCF956D926}"/>
                </a:ext>
              </a:extLst>
            </p:cNvPr>
            <p:cNvSpPr/>
            <p:nvPr/>
          </p:nvSpPr>
          <p:spPr>
            <a:xfrm>
              <a:off x="6152537" y="1651313"/>
              <a:ext cx="2568677" cy="1309143"/>
            </a:xfrm>
            <a:prstGeom prst="rect">
              <a:avLst/>
            </a:prstGeom>
            <a:noFill/>
            <a:ln w="25400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rtlCol="0" anchor="t"/>
            <a:lstStyle/>
            <a:p>
              <a:pPr defTabSz="342900">
                <a:defRPr/>
              </a:pPr>
              <a:endParaRPr lang="fr-FR" sz="1200" kern="0" dirty="0">
                <a:solidFill>
                  <a:srgbClr val="3C3732"/>
                </a:solidFill>
                <a:latin typeface="Avenir LT Std 45 Book"/>
              </a:endParaRPr>
            </a:p>
            <a:p>
              <a:pPr defTabSz="342900">
                <a:defRPr/>
              </a:pPr>
              <a:r>
                <a:rPr lang="fr-FR" sz="1200" kern="0" dirty="0">
                  <a:solidFill>
                    <a:srgbClr val="3C3732"/>
                  </a:solidFill>
                  <a:latin typeface="Avenir LT Std 45 Book"/>
                </a:rPr>
                <a:t>30 000 km railways </a:t>
              </a:r>
            </a:p>
            <a:p>
              <a:pPr defTabSz="342900">
                <a:defRPr/>
              </a:pPr>
              <a:r>
                <a:rPr lang="fr-FR" sz="1200" kern="0" dirty="0">
                  <a:solidFill>
                    <a:srgbClr val="3C3732"/>
                  </a:solidFill>
                  <a:latin typeface="Avenir LT Std 45 Book"/>
                </a:rPr>
                <a:t>(2 700 km high speed)</a:t>
              </a:r>
            </a:p>
            <a:p>
              <a:pPr defTabSz="342900">
                <a:defRPr/>
              </a:pPr>
              <a:endParaRPr lang="fr-FR" sz="1200" kern="0" dirty="0">
                <a:solidFill>
                  <a:srgbClr val="3C3732"/>
                </a:solidFill>
                <a:latin typeface="Avenir LT Std 45 Book"/>
              </a:endParaRPr>
            </a:p>
            <a:p>
              <a:pPr defTabSz="342900">
                <a:defRPr/>
              </a:pPr>
              <a:r>
                <a:rPr lang="fr-FR" sz="1200" kern="0" dirty="0">
                  <a:solidFill>
                    <a:srgbClr val="3C3732"/>
                  </a:solidFill>
                  <a:latin typeface="Avenir LT Std 45 Book"/>
                </a:rPr>
                <a:t>3 000 train stations</a:t>
              </a:r>
            </a:p>
            <a:p>
              <a:pPr defTabSz="342900">
                <a:defRPr/>
              </a:pPr>
              <a:endParaRPr lang="fr-FR" sz="1200" dirty="0">
                <a:solidFill>
                  <a:srgbClr val="3C3732"/>
                </a:solidFill>
                <a:latin typeface="Avenir LT Std 45 Book"/>
              </a:endParaRPr>
            </a:p>
          </p:txBody>
        </p:sp>
      </p:grpSp>
      <p:pic>
        <p:nvPicPr>
          <p:cNvPr id="29" name="Image 28">
            <a:extLst>
              <a:ext uri="{FF2B5EF4-FFF2-40B4-BE49-F238E27FC236}">
                <a16:creationId xmlns:a16="http://schemas.microsoft.com/office/drawing/2014/main" id="{C18092F7-FDA0-4243-9A99-224C8012C2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1100" y="3822554"/>
            <a:ext cx="2793559" cy="1025970"/>
          </a:xfrm>
          <a:prstGeom prst="rect">
            <a:avLst/>
          </a:prstGeom>
        </p:spPr>
      </p:pic>
      <p:pic>
        <p:nvPicPr>
          <p:cNvPr id="31" name="Image 30" descr="Une image contenant carte&#10;&#10;Description générée automatiquement">
            <a:extLst>
              <a:ext uri="{FF2B5EF4-FFF2-40B4-BE49-F238E27FC236}">
                <a16:creationId xmlns:a16="http://schemas.microsoft.com/office/drawing/2014/main" id="{7E603394-742B-44EA-AA93-66C17D0402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6196" y="3176521"/>
            <a:ext cx="1292902" cy="1077418"/>
          </a:xfrm>
          <a:prstGeom prst="rect">
            <a:avLst/>
          </a:prstGeom>
        </p:spPr>
      </p:pic>
      <p:pic>
        <p:nvPicPr>
          <p:cNvPr id="22" name="Image 21">
            <a:extLst>
              <a:ext uri="{FF2B5EF4-FFF2-40B4-BE49-F238E27FC236}">
                <a16:creationId xmlns:a16="http://schemas.microsoft.com/office/drawing/2014/main" id="{7FC25D43-5990-4D08-BEB3-2CFCDDF8563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67" t="47545" r="13628" b="31111"/>
          <a:stretch/>
        </p:blipFill>
        <p:spPr>
          <a:xfrm>
            <a:off x="4874480" y="3045285"/>
            <a:ext cx="1873372" cy="535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8508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1"/>
          <p:cNvSpPr txBox="1">
            <a:spLocks/>
          </p:cNvSpPr>
          <p:nvPr/>
        </p:nvSpPr>
        <p:spPr>
          <a:xfrm>
            <a:off x="434400" y="272705"/>
            <a:ext cx="8572440" cy="63026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00" b="0" kern="1200" cap="all" baseline="0">
                <a:solidFill>
                  <a:schemeClr val="bg1">
                    <a:alpha val="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400"/>
            <a:r>
              <a:rPr lang="fr-FR" sz="2400" dirty="0">
                <a:solidFill>
                  <a:srgbClr val="82BE00"/>
                </a:solidFill>
                <a:latin typeface="Avenir LT Std 65 Medium"/>
                <a:ea typeface="+mj-lt"/>
                <a:cs typeface="+mj-lt"/>
              </a:rPr>
              <a:t>SNCF: 5 millions voyages / </a:t>
            </a:r>
            <a:r>
              <a:rPr lang="fr-FR" sz="2400" dirty="0" err="1">
                <a:solidFill>
                  <a:srgbClr val="82BE00"/>
                </a:solidFill>
                <a:latin typeface="Avenir LT Std 65 Medium"/>
                <a:ea typeface="+mj-lt"/>
                <a:cs typeface="+mj-lt"/>
              </a:rPr>
              <a:t>day</a:t>
            </a:r>
            <a:r>
              <a:rPr lang="fr-FR" sz="2400" dirty="0">
                <a:solidFill>
                  <a:srgbClr val="82BE00"/>
                </a:solidFill>
                <a:latin typeface="Avenir LT Std 65 Medium"/>
                <a:ea typeface="+mj-lt"/>
                <a:cs typeface="+mj-lt"/>
              </a:rPr>
              <a:t> in France</a:t>
            </a:r>
            <a:endParaRPr lang="fr-FR" sz="2400" dirty="0">
              <a:solidFill>
                <a:srgbClr val="82BE00"/>
              </a:solidFill>
              <a:latin typeface="Avenir LT Std 65 Medium"/>
              <a:ea typeface="+mn-ea"/>
              <a:cs typeface="+mn-cs"/>
            </a:endParaRP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44E16140-5F3D-47B5-8566-DD2688E3EB31}"/>
              </a:ext>
            </a:extLst>
          </p:cNvPr>
          <p:cNvGrpSpPr/>
          <p:nvPr/>
        </p:nvGrpSpPr>
        <p:grpSpPr>
          <a:xfrm>
            <a:off x="434400" y="1339683"/>
            <a:ext cx="1766700" cy="1459357"/>
            <a:chOff x="3212691" y="1251573"/>
            <a:chExt cx="2568677" cy="154541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83D6FBE-FEA6-414F-B9AD-21621744599E}"/>
                </a:ext>
              </a:extLst>
            </p:cNvPr>
            <p:cNvSpPr/>
            <p:nvPr/>
          </p:nvSpPr>
          <p:spPr>
            <a:xfrm>
              <a:off x="3212691" y="1251573"/>
              <a:ext cx="2568677" cy="399740"/>
            </a:xfrm>
            <a:prstGeom prst="rect">
              <a:avLst/>
            </a:prstGeom>
            <a:solidFill>
              <a:srgbClr val="00B050"/>
            </a:solidFill>
            <a:ln w="25400" cap="flat" cmpd="sng" algn="ctr">
              <a:solidFill>
                <a:srgbClr val="00B05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342900">
                <a:defRPr/>
              </a:pPr>
              <a:r>
                <a:rPr lang="fr-FR" sz="1800" kern="0" dirty="0">
                  <a:solidFill>
                    <a:prstClr val="white"/>
                  </a:solidFill>
                  <a:latin typeface="Avenir LT Std 45 Book"/>
                </a:rPr>
                <a:t>Operations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18F0B5E-B06D-4AEC-96ED-9DA848BE0F7F}"/>
                </a:ext>
              </a:extLst>
            </p:cNvPr>
            <p:cNvSpPr/>
            <p:nvPr/>
          </p:nvSpPr>
          <p:spPr>
            <a:xfrm>
              <a:off x="3212691" y="1651313"/>
              <a:ext cx="2568677" cy="1145670"/>
            </a:xfrm>
            <a:prstGeom prst="rect">
              <a:avLst/>
            </a:prstGeom>
            <a:noFill/>
            <a:ln w="25400" cap="flat" cmpd="sng" algn="ctr">
              <a:solidFill>
                <a:srgbClr val="00B050"/>
              </a:solidFill>
              <a:prstDash val="solid"/>
            </a:ln>
            <a:effectLst/>
          </p:spPr>
          <p:txBody>
            <a:bodyPr rtlCol="0" anchor="t"/>
            <a:lstStyle/>
            <a:p>
              <a:pPr defTabSz="342900">
                <a:defRPr/>
              </a:pPr>
              <a:endParaRPr lang="fr-FR" sz="1200" kern="0" dirty="0">
                <a:solidFill>
                  <a:srgbClr val="3C3732"/>
                </a:solidFill>
                <a:latin typeface="Avenir LT Std 45 Book"/>
              </a:endParaRPr>
            </a:p>
            <a:p>
              <a:pPr defTabSz="342900">
                <a:defRPr/>
              </a:pPr>
              <a:r>
                <a:rPr lang="fr-FR" sz="1200" kern="0" dirty="0">
                  <a:solidFill>
                    <a:srgbClr val="3C3732"/>
                  </a:solidFill>
                  <a:latin typeface="Avenir LT Std 45 Book"/>
                </a:rPr>
                <a:t>15 000 trains / </a:t>
              </a:r>
              <a:r>
                <a:rPr lang="fr-FR" sz="1200" kern="0" dirty="0" err="1">
                  <a:solidFill>
                    <a:srgbClr val="3C3732"/>
                  </a:solidFill>
                  <a:latin typeface="Avenir LT Std 45 Book"/>
                </a:rPr>
                <a:t>day</a:t>
              </a:r>
              <a:endParaRPr lang="fr-FR" sz="1200" kern="0" dirty="0">
                <a:solidFill>
                  <a:srgbClr val="3C3732"/>
                </a:solidFill>
                <a:latin typeface="Avenir LT Std 45 Book"/>
              </a:endParaRPr>
            </a:p>
            <a:p>
              <a:pPr defTabSz="342900">
                <a:defRPr/>
              </a:pPr>
              <a:endParaRPr lang="fr-FR" sz="1200" kern="0" dirty="0">
                <a:solidFill>
                  <a:srgbClr val="3C3732"/>
                </a:solidFill>
                <a:latin typeface="Avenir LT Std 45 Book"/>
              </a:endParaRPr>
            </a:p>
            <a:p>
              <a:pPr defTabSz="342900">
                <a:defRPr/>
              </a:pPr>
              <a:r>
                <a:rPr lang="fr-FR" sz="1200" kern="0" dirty="0">
                  <a:solidFill>
                    <a:srgbClr val="3C3732"/>
                  </a:solidFill>
                  <a:latin typeface="Avenir LT Std 45 Book"/>
                </a:rPr>
                <a:t>100 000 000 train tickets </a:t>
              </a:r>
              <a:r>
                <a:rPr lang="fr-FR" sz="1200" kern="0" dirty="0" err="1">
                  <a:solidFill>
                    <a:srgbClr val="3C3732"/>
                  </a:solidFill>
                  <a:latin typeface="Avenir LT Std 45 Book"/>
                </a:rPr>
                <a:t>sold</a:t>
              </a:r>
              <a:r>
                <a:rPr lang="fr-FR" sz="1200" kern="0" dirty="0">
                  <a:solidFill>
                    <a:srgbClr val="3C3732"/>
                  </a:solidFill>
                  <a:latin typeface="Avenir LT Std 45 Book"/>
                </a:rPr>
                <a:t> / </a:t>
              </a:r>
              <a:r>
                <a:rPr lang="fr-FR" sz="1200" kern="0" dirty="0" err="1">
                  <a:solidFill>
                    <a:srgbClr val="3C3732"/>
                  </a:solidFill>
                  <a:latin typeface="Avenir LT Std 45 Book"/>
                </a:rPr>
                <a:t>year</a:t>
              </a:r>
              <a:r>
                <a:rPr lang="fr-FR" sz="1200" kern="0" dirty="0">
                  <a:solidFill>
                    <a:srgbClr val="3C3732"/>
                  </a:solidFill>
                  <a:latin typeface="Avenir LT Std 45 Book"/>
                </a:rPr>
                <a:t> (</a:t>
              </a:r>
              <a:r>
                <a:rPr lang="fr-FR" sz="1200" kern="0" dirty="0" err="1">
                  <a:solidFill>
                    <a:srgbClr val="3C3732"/>
                  </a:solidFill>
                  <a:latin typeface="Avenir LT Std 45 Book"/>
                </a:rPr>
                <a:t>oui.sncf</a:t>
              </a:r>
              <a:r>
                <a:rPr lang="fr-FR" sz="1200" kern="0" dirty="0">
                  <a:solidFill>
                    <a:srgbClr val="3C3732"/>
                  </a:solidFill>
                  <a:latin typeface="Avenir LT Std 45 Book"/>
                </a:rPr>
                <a:t>)</a:t>
              </a:r>
            </a:p>
          </p:txBody>
        </p:sp>
      </p:grp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787972F6-FD37-43ED-9D7A-FC71BA4ADA6C}"/>
              </a:ext>
            </a:extLst>
          </p:cNvPr>
          <p:cNvGrpSpPr/>
          <p:nvPr/>
        </p:nvGrpSpPr>
        <p:grpSpPr>
          <a:xfrm>
            <a:off x="2654440" y="1339684"/>
            <a:ext cx="1766700" cy="1459357"/>
            <a:chOff x="6152537" y="1251573"/>
            <a:chExt cx="2568677" cy="1708883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FAF42BC-5BF1-402F-BA8F-BF944CC66BB9}"/>
                </a:ext>
              </a:extLst>
            </p:cNvPr>
            <p:cNvSpPr/>
            <p:nvPr/>
          </p:nvSpPr>
          <p:spPr>
            <a:xfrm>
              <a:off x="6152537" y="1251573"/>
              <a:ext cx="2568677" cy="399740"/>
            </a:xfrm>
            <a:prstGeom prst="rect">
              <a:avLst/>
            </a:prstGeom>
            <a:solidFill>
              <a:srgbClr val="0070C0"/>
            </a:solidFill>
            <a:ln w="25400" cap="flat" cmpd="sng" algn="ctr">
              <a:solidFill>
                <a:srgbClr val="0070C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342900">
                <a:defRPr/>
              </a:pPr>
              <a:r>
                <a:rPr lang="fr-FR" sz="1800" kern="0" dirty="0">
                  <a:solidFill>
                    <a:prstClr val="white"/>
                  </a:solidFill>
                  <a:latin typeface="Avenir LT Std 45 Book"/>
                </a:rPr>
                <a:t>Energy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878E732-FC8B-4676-8E0F-FEBB157C5918}"/>
                </a:ext>
              </a:extLst>
            </p:cNvPr>
            <p:cNvSpPr/>
            <p:nvPr/>
          </p:nvSpPr>
          <p:spPr>
            <a:xfrm>
              <a:off x="6152537" y="1651313"/>
              <a:ext cx="2568677" cy="1309143"/>
            </a:xfrm>
            <a:prstGeom prst="rect">
              <a:avLst/>
            </a:prstGeom>
            <a:noFill/>
            <a:ln w="25400" cap="flat" cmpd="sng" algn="ctr">
              <a:solidFill>
                <a:srgbClr val="0070C0"/>
              </a:solidFill>
              <a:prstDash val="solid"/>
            </a:ln>
            <a:effectLst/>
          </p:spPr>
          <p:txBody>
            <a:bodyPr rtlCol="0" anchor="t"/>
            <a:lstStyle/>
            <a:p>
              <a:pPr defTabSz="342900">
                <a:defRPr/>
              </a:pPr>
              <a:endParaRPr lang="fr-FR" sz="1200" kern="0" dirty="0">
                <a:solidFill>
                  <a:srgbClr val="3C3732"/>
                </a:solidFill>
                <a:latin typeface="Avenir LT Std 45 Book"/>
              </a:endParaRPr>
            </a:p>
            <a:p>
              <a:pPr defTabSz="342900">
                <a:defRPr/>
              </a:pPr>
              <a:r>
                <a:rPr lang="fr-FR" sz="1200" dirty="0"/>
                <a:t>14 TWh / </a:t>
              </a:r>
              <a:r>
                <a:rPr lang="fr-FR" sz="1200" dirty="0" err="1"/>
                <a:t>year</a:t>
              </a:r>
              <a:endParaRPr lang="fr-FR" sz="1200" dirty="0"/>
            </a:p>
            <a:p>
              <a:pPr defTabSz="342900">
                <a:defRPr/>
              </a:pPr>
              <a:endParaRPr lang="fr-FR" sz="1200" dirty="0">
                <a:solidFill>
                  <a:srgbClr val="3C3732"/>
                </a:solidFill>
                <a:latin typeface="Avenir LT Std 45 Book"/>
              </a:endParaRPr>
            </a:p>
            <a:p>
              <a:pPr defTabSz="342900">
                <a:defRPr/>
              </a:pPr>
              <a:r>
                <a:rPr lang="fr-FR" sz="1200" dirty="0">
                  <a:solidFill>
                    <a:srgbClr val="3C3732"/>
                  </a:solidFill>
                  <a:latin typeface="Avenir LT Std 45 Book"/>
                </a:rPr>
                <a:t>(8 TWh for traction)</a:t>
              </a:r>
            </a:p>
          </p:txBody>
        </p:sp>
      </p:grp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559ED7E0-467A-47F3-9AC2-C6EB65D11580}"/>
              </a:ext>
            </a:extLst>
          </p:cNvPr>
          <p:cNvGrpSpPr/>
          <p:nvPr/>
        </p:nvGrpSpPr>
        <p:grpSpPr>
          <a:xfrm>
            <a:off x="4874480" y="1339683"/>
            <a:ext cx="1766700" cy="1459357"/>
            <a:chOff x="6152537" y="1251573"/>
            <a:chExt cx="2568677" cy="1708883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8643AE1-0B70-4CCF-84A0-A04B4488225A}"/>
                </a:ext>
              </a:extLst>
            </p:cNvPr>
            <p:cNvSpPr/>
            <p:nvPr/>
          </p:nvSpPr>
          <p:spPr>
            <a:xfrm>
              <a:off x="6152537" y="1251573"/>
              <a:ext cx="2568677" cy="399740"/>
            </a:xfrm>
            <a:prstGeom prst="rect">
              <a:avLst/>
            </a:prstGeom>
            <a:solidFill>
              <a:schemeClr val="tx2"/>
            </a:solidFill>
            <a:ln w="25400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342900">
                <a:defRPr/>
              </a:pPr>
              <a:r>
                <a:rPr lang="fr-FR" sz="1800" kern="0" dirty="0">
                  <a:solidFill>
                    <a:prstClr val="white"/>
                  </a:solidFill>
                  <a:latin typeface="Avenir LT Std 45 Book"/>
                </a:rPr>
                <a:t>Infrastructure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BCEA02C1-816D-4434-A6D1-95BCF956D926}"/>
                </a:ext>
              </a:extLst>
            </p:cNvPr>
            <p:cNvSpPr/>
            <p:nvPr/>
          </p:nvSpPr>
          <p:spPr>
            <a:xfrm>
              <a:off x="6152537" y="1651313"/>
              <a:ext cx="2568677" cy="1309143"/>
            </a:xfrm>
            <a:prstGeom prst="rect">
              <a:avLst/>
            </a:prstGeom>
            <a:noFill/>
            <a:ln w="25400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rtlCol="0" anchor="t"/>
            <a:lstStyle/>
            <a:p>
              <a:pPr defTabSz="342900">
                <a:defRPr/>
              </a:pPr>
              <a:endParaRPr lang="fr-FR" sz="1200" kern="0" dirty="0">
                <a:solidFill>
                  <a:srgbClr val="3C3732"/>
                </a:solidFill>
                <a:latin typeface="Avenir LT Std 45 Book"/>
              </a:endParaRPr>
            </a:p>
            <a:p>
              <a:pPr defTabSz="342900">
                <a:defRPr/>
              </a:pPr>
              <a:r>
                <a:rPr lang="fr-FR" sz="1200" kern="0" dirty="0">
                  <a:solidFill>
                    <a:srgbClr val="3C3732"/>
                  </a:solidFill>
                  <a:latin typeface="Avenir LT Std 45 Book"/>
                </a:rPr>
                <a:t>30 000 km railways </a:t>
              </a:r>
            </a:p>
            <a:p>
              <a:pPr defTabSz="342900">
                <a:defRPr/>
              </a:pPr>
              <a:r>
                <a:rPr lang="fr-FR" sz="1200" kern="0" dirty="0">
                  <a:solidFill>
                    <a:srgbClr val="3C3732"/>
                  </a:solidFill>
                  <a:latin typeface="Avenir LT Std 45 Book"/>
                </a:rPr>
                <a:t>(2 700 km high speed)</a:t>
              </a:r>
            </a:p>
            <a:p>
              <a:pPr defTabSz="342900">
                <a:defRPr/>
              </a:pPr>
              <a:endParaRPr lang="fr-FR" sz="1200" kern="0" dirty="0">
                <a:solidFill>
                  <a:srgbClr val="3C3732"/>
                </a:solidFill>
                <a:latin typeface="Avenir LT Std 45 Book"/>
              </a:endParaRPr>
            </a:p>
            <a:p>
              <a:pPr defTabSz="342900">
                <a:defRPr/>
              </a:pPr>
              <a:r>
                <a:rPr lang="fr-FR" sz="1200" kern="0" dirty="0">
                  <a:solidFill>
                    <a:srgbClr val="3C3732"/>
                  </a:solidFill>
                  <a:latin typeface="Avenir LT Std 45 Book"/>
                </a:rPr>
                <a:t>3 000 train stations</a:t>
              </a:r>
            </a:p>
            <a:p>
              <a:pPr defTabSz="342900">
                <a:defRPr/>
              </a:pPr>
              <a:endParaRPr lang="fr-FR" sz="1200" dirty="0">
                <a:solidFill>
                  <a:srgbClr val="3C3732"/>
                </a:solidFill>
                <a:latin typeface="Avenir LT Std 45 Book"/>
              </a:endParaRPr>
            </a:p>
          </p:txBody>
        </p:sp>
      </p:grp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9BEAD263-0CC3-4AC5-BDED-19A60BCFCEEC}"/>
              </a:ext>
            </a:extLst>
          </p:cNvPr>
          <p:cNvGrpSpPr/>
          <p:nvPr/>
        </p:nvGrpSpPr>
        <p:grpSpPr>
          <a:xfrm>
            <a:off x="7094521" y="1339683"/>
            <a:ext cx="1766700" cy="1459357"/>
            <a:chOff x="6152537" y="1251573"/>
            <a:chExt cx="2568677" cy="1708883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87FF9B2-BA05-43F1-990B-3571E18879B8}"/>
                </a:ext>
              </a:extLst>
            </p:cNvPr>
            <p:cNvSpPr/>
            <p:nvPr/>
          </p:nvSpPr>
          <p:spPr>
            <a:xfrm>
              <a:off x="6152537" y="1251573"/>
              <a:ext cx="2568677" cy="399740"/>
            </a:xfrm>
            <a:prstGeom prst="rect">
              <a:avLst/>
            </a:prstGeom>
            <a:solidFill>
              <a:srgbClr val="CD0037"/>
            </a:solidFill>
            <a:ln w="25400" cap="flat" cmpd="sng" algn="ctr">
              <a:solidFill>
                <a:srgbClr val="CD0037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342900">
                <a:defRPr/>
              </a:pPr>
              <a:r>
                <a:rPr lang="fr-FR" sz="1800" kern="0" dirty="0">
                  <a:solidFill>
                    <a:prstClr val="white"/>
                  </a:solidFill>
                  <a:latin typeface="Avenir LT Std 45 Book"/>
                </a:rPr>
                <a:t>Rolling stock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F7E2161-7EC9-4864-9870-C1FA1D6666B7}"/>
                </a:ext>
              </a:extLst>
            </p:cNvPr>
            <p:cNvSpPr/>
            <p:nvPr/>
          </p:nvSpPr>
          <p:spPr>
            <a:xfrm>
              <a:off x="6152537" y="1651313"/>
              <a:ext cx="2568677" cy="1309143"/>
            </a:xfrm>
            <a:prstGeom prst="rect">
              <a:avLst/>
            </a:prstGeom>
            <a:noFill/>
            <a:ln w="25400" cap="flat" cmpd="sng" algn="ctr">
              <a:solidFill>
                <a:srgbClr val="CD0037"/>
              </a:solidFill>
              <a:prstDash val="solid"/>
            </a:ln>
            <a:effectLst/>
          </p:spPr>
          <p:txBody>
            <a:bodyPr rtlCol="0" anchor="t"/>
            <a:lstStyle/>
            <a:p>
              <a:pPr defTabSz="342900">
                <a:defRPr/>
              </a:pPr>
              <a:endParaRPr lang="fr-FR" sz="1200" kern="0" dirty="0">
                <a:solidFill>
                  <a:srgbClr val="3C3732"/>
                </a:solidFill>
                <a:latin typeface="Avenir LT Std 45 Book"/>
              </a:endParaRPr>
            </a:p>
            <a:p>
              <a:pPr defTabSz="342900">
                <a:defRPr/>
              </a:pPr>
              <a:r>
                <a:rPr lang="fr-FR" sz="1200" kern="0" dirty="0">
                  <a:solidFill>
                    <a:srgbClr val="3C3732"/>
                  </a:solidFill>
                  <a:latin typeface="Avenir LT Std 45 Book"/>
                </a:rPr>
                <a:t>3 500 locomotives / trains</a:t>
              </a:r>
            </a:p>
            <a:p>
              <a:pPr defTabSz="342900">
                <a:defRPr/>
              </a:pPr>
              <a:endParaRPr lang="fr-FR" sz="1200" dirty="0">
                <a:solidFill>
                  <a:srgbClr val="3C3732"/>
                </a:solidFill>
                <a:latin typeface="Avenir LT Std 45 Book"/>
              </a:endParaRPr>
            </a:p>
          </p:txBody>
        </p:sp>
      </p:grpSp>
      <p:pic>
        <p:nvPicPr>
          <p:cNvPr id="29" name="Image 28">
            <a:extLst>
              <a:ext uri="{FF2B5EF4-FFF2-40B4-BE49-F238E27FC236}">
                <a16:creationId xmlns:a16="http://schemas.microsoft.com/office/drawing/2014/main" id="{C18092F7-FDA0-4243-9A99-224C8012C2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1100" y="3822554"/>
            <a:ext cx="2793559" cy="1025970"/>
          </a:xfrm>
          <a:prstGeom prst="rect">
            <a:avLst/>
          </a:prstGeom>
        </p:spPr>
      </p:pic>
      <p:pic>
        <p:nvPicPr>
          <p:cNvPr id="31" name="Image 30" descr="Une image contenant carte&#10;&#10;Description générée automatiquement">
            <a:extLst>
              <a:ext uri="{FF2B5EF4-FFF2-40B4-BE49-F238E27FC236}">
                <a16:creationId xmlns:a16="http://schemas.microsoft.com/office/drawing/2014/main" id="{7E603394-742B-44EA-AA93-66C17D0402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6196" y="3176521"/>
            <a:ext cx="1292902" cy="1077418"/>
          </a:xfrm>
          <a:prstGeom prst="rect">
            <a:avLst/>
          </a:prstGeom>
        </p:spPr>
      </p:pic>
      <p:pic>
        <p:nvPicPr>
          <p:cNvPr id="33" name="Image 32" descr="Une image contenant texte, transport, train&#10;&#10;Description générée automatiquement">
            <a:extLst>
              <a:ext uri="{FF2B5EF4-FFF2-40B4-BE49-F238E27FC236}">
                <a16:creationId xmlns:a16="http://schemas.microsoft.com/office/drawing/2014/main" id="{A87EE91F-0174-4975-92B1-6F136253D16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11566" y="3763818"/>
            <a:ext cx="1902810" cy="1109973"/>
          </a:xfrm>
          <a:prstGeom prst="rect">
            <a:avLst/>
          </a:prstGeom>
        </p:spPr>
      </p:pic>
      <p:pic>
        <p:nvPicPr>
          <p:cNvPr id="22" name="Image 21">
            <a:extLst>
              <a:ext uri="{FF2B5EF4-FFF2-40B4-BE49-F238E27FC236}">
                <a16:creationId xmlns:a16="http://schemas.microsoft.com/office/drawing/2014/main" id="{7FC25D43-5990-4D08-BEB3-2CFCDDF8563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67" t="47545" r="13628" b="31111"/>
          <a:stretch/>
        </p:blipFill>
        <p:spPr>
          <a:xfrm>
            <a:off x="4874480" y="3045285"/>
            <a:ext cx="1873372" cy="535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3738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\\commun.ad.sncf.fr\campus\Home\RESSOURCES\Visuels\logo-sncf-peti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1132" y="4392011"/>
            <a:ext cx="966353" cy="5606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re 1"/>
          <p:cNvSpPr txBox="1">
            <a:spLocks/>
          </p:cNvSpPr>
          <p:nvPr/>
        </p:nvSpPr>
        <p:spPr bwMode="gray">
          <a:xfrm>
            <a:off x="2680282" y="1020855"/>
            <a:ext cx="5828097" cy="190095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 defTabSz="91436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kern="1200" cap="all" baseline="0">
                <a:solidFill>
                  <a:srgbClr val="FFFFFF"/>
                </a:solidFill>
                <a:latin typeface="Avenir LT Std 65 Medium" pitchFamily="34" charset="0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fr-FR" b="1" dirty="0" err="1"/>
              <a:t>Examples</a:t>
            </a:r>
            <a:r>
              <a:rPr lang="fr-FR" b="1" dirty="0"/>
              <a:t> of data </a:t>
            </a:r>
            <a:r>
              <a:rPr lang="fr-FR" b="1" dirty="0" err="1"/>
              <a:t>projects</a:t>
            </a:r>
            <a:endParaRPr lang="fr-FR" sz="2800" b="1" dirty="0"/>
          </a:p>
        </p:txBody>
      </p:sp>
      <p:sp>
        <p:nvSpPr>
          <p:cNvPr id="9" name="Organigramme : Connecteur 8"/>
          <p:cNvSpPr/>
          <p:nvPr/>
        </p:nvSpPr>
        <p:spPr>
          <a:xfrm>
            <a:off x="636233" y="1071334"/>
            <a:ext cx="1800000" cy="1800000"/>
          </a:xfrm>
          <a:prstGeom prst="flowChartConnector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0" y="4478345"/>
            <a:ext cx="1541575" cy="387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063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itre 1">
            <a:extLst>
              <a:ext uri="{FF2B5EF4-FFF2-40B4-BE49-F238E27FC236}">
                <a16:creationId xmlns:a16="http://schemas.microsoft.com/office/drawing/2014/main" id="{46DB58CC-30E8-E446-BC18-8DB31BA4BE2B}"/>
              </a:ext>
            </a:extLst>
          </p:cNvPr>
          <p:cNvSpPr txBox="1">
            <a:spLocks/>
          </p:cNvSpPr>
          <p:nvPr/>
        </p:nvSpPr>
        <p:spPr>
          <a:xfrm>
            <a:off x="401520" y="287139"/>
            <a:ext cx="8520587" cy="48607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defRPr/>
            </a:pPr>
            <a:r>
              <a:rPr lang="fr-FR" sz="2000" dirty="0" err="1">
                <a:solidFill>
                  <a:srgbClr val="009AA6"/>
                </a:solidFill>
                <a:latin typeface="Avenir LT Std 45 Book (Corps)"/>
              </a:rPr>
              <a:t>Mobility</a:t>
            </a:r>
            <a:r>
              <a:rPr lang="fr-FR" sz="2000" dirty="0">
                <a:solidFill>
                  <a:srgbClr val="009AA6"/>
                </a:solidFill>
                <a:latin typeface="Avenir LT Std 45 Book (Corps)"/>
              </a:rPr>
              <a:t> </a:t>
            </a:r>
            <a:r>
              <a:rPr lang="fr-FR" sz="2000" dirty="0" err="1">
                <a:solidFill>
                  <a:srgbClr val="009AA6"/>
                </a:solidFill>
                <a:latin typeface="Avenir LT Std 45 Book (Corps)"/>
              </a:rPr>
              <a:t>Knowledge</a:t>
            </a:r>
            <a:endParaRPr lang="fr-FR" sz="2000" dirty="0">
              <a:solidFill>
                <a:srgbClr val="009AA6"/>
              </a:solidFill>
              <a:latin typeface="Avenir LT Std 45 Book (Corps)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D554482-FB6F-431C-8606-49F04BEBB437}"/>
              </a:ext>
            </a:extLst>
          </p:cNvPr>
          <p:cNvSpPr/>
          <p:nvPr/>
        </p:nvSpPr>
        <p:spPr>
          <a:xfrm>
            <a:off x="401520" y="813083"/>
            <a:ext cx="5113338" cy="31881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defTabSz="40005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fr-FR" sz="1000" kern="0" dirty="0">
                <a:solidFill>
                  <a:srgbClr val="4D4F53"/>
                </a:solidFill>
              </a:rPr>
              <a:t>SNCF mobile app: 600 000 </a:t>
            </a:r>
            <a:r>
              <a:rPr lang="fr-FR" sz="1000" kern="0" dirty="0" err="1">
                <a:solidFill>
                  <a:srgbClr val="4D4F53"/>
                </a:solidFill>
              </a:rPr>
              <a:t>users</a:t>
            </a:r>
            <a:endParaRPr lang="fr-FR" sz="1000" kern="0" dirty="0">
              <a:solidFill>
                <a:srgbClr val="4D4F53"/>
              </a:solidFill>
            </a:endParaRPr>
          </a:p>
        </p:txBody>
      </p:sp>
      <p:pic>
        <p:nvPicPr>
          <p:cNvPr id="28" name="Picture 9">
            <a:extLst>
              <a:ext uri="{FF2B5EF4-FFF2-40B4-BE49-F238E27FC236}">
                <a16:creationId xmlns:a16="http://schemas.microsoft.com/office/drawing/2014/main" id="{5CACAB6B-07E9-4D7A-96DE-6AE639E92B3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7588" y="0"/>
            <a:ext cx="3846412" cy="1626166"/>
          </a:xfrm>
          <a:prstGeom prst="rect">
            <a:avLst/>
          </a:prstGeom>
          <a:ln>
            <a:solidFill>
              <a:schemeClr val="tx1">
                <a:lumMod val="50000"/>
              </a:schemeClr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</p:pic>
      <p:pic>
        <p:nvPicPr>
          <p:cNvPr id="32" name="Picture 11">
            <a:extLst>
              <a:ext uri="{FF2B5EF4-FFF2-40B4-BE49-F238E27FC236}">
                <a16:creationId xmlns:a16="http://schemas.microsoft.com/office/drawing/2014/main" id="{8A7C7C54-45F7-4BF0-8C3C-1E8597F3447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8607" y="1700318"/>
            <a:ext cx="3846412" cy="1742864"/>
          </a:xfrm>
          <a:prstGeom prst="rect">
            <a:avLst/>
          </a:prstGeom>
          <a:ln>
            <a:solidFill>
              <a:schemeClr val="tx1">
                <a:lumMod val="50000"/>
              </a:schemeClr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</p:pic>
      <p:pic>
        <p:nvPicPr>
          <p:cNvPr id="33" name="Picture 10">
            <a:extLst>
              <a:ext uri="{FF2B5EF4-FFF2-40B4-BE49-F238E27FC236}">
                <a16:creationId xmlns:a16="http://schemas.microsoft.com/office/drawing/2014/main" id="{60DF44D2-9879-4099-9F56-052FB408316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89" b="21063"/>
          <a:stretch/>
        </p:blipFill>
        <p:spPr>
          <a:xfrm>
            <a:off x="56262" y="3545917"/>
            <a:ext cx="3847115" cy="1527118"/>
          </a:xfrm>
          <a:prstGeom prst="rect">
            <a:avLst/>
          </a:prstGeom>
          <a:ln>
            <a:solidFill>
              <a:schemeClr val="tx1">
                <a:lumMod val="50000"/>
              </a:schemeClr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</p:pic>
      <p:pic>
        <p:nvPicPr>
          <p:cNvPr id="22" name="Image 3" descr="Une image contenant texte&#10;&#10;Description générée automatiquement">
            <a:extLst>
              <a:ext uri="{FF2B5EF4-FFF2-40B4-BE49-F238E27FC236}">
                <a16:creationId xmlns:a16="http://schemas.microsoft.com/office/drawing/2014/main" id="{927B3191-027D-4E75-BC9B-0370F0E0A5B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547" t="1099" r="-236" b="137"/>
          <a:stretch/>
        </p:blipFill>
        <p:spPr>
          <a:xfrm>
            <a:off x="576023" y="1326207"/>
            <a:ext cx="1155054" cy="1983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5205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re 1"/>
          <p:cNvSpPr>
            <a:spLocks noGrp="1"/>
          </p:cNvSpPr>
          <p:nvPr>
            <p:ph type="title"/>
          </p:nvPr>
        </p:nvSpPr>
        <p:spPr>
          <a:xfrm>
            <a:off x="281145" y="270754"/>
            <a:ext cx="7805455" cy="486079"/>
          </a:xfrm>
        </p:spPr>
        <p:txBody>
          <a:bodyPr>
            <a:noAutofit/>
          </a:bodyPr>
          <a:lstStyle/>
          <a:p>
            <a:r>
              <a:rPr lang="fr-FR" sz="2000" dirty="0">
                <a:solidFill>
                  <a:srgbClr val="009AA6"/>
                </a:solidFill>
                <a:latin typeface="Avenir LT Std 45 Book (Corps)"/>
              </a:rPr>
              <a:t>Delay </a:t>
            </a:r>
            <a:r>
              <a:rPr lang="fr-FR" sz="2000" dirty="0" err="1">
                <a:solidFill>
                  <a:srgbClr val="009AA6"/>
                </a:solidFill>
                <a:latin typeface="Avenir LT Std 45 Book (Corps)"/>
              </a:rPr>
              <a:t>predictions</a:t>
            </a:r>
            <a:endParaRPr lang="fr-FR" sz="1600" dirty="0">
              <a:solidFill>
                <a:schemeClr val="accent1"/>
              </a:solidFill>
              <a:latin typeface="Avenir LT Std 45 Book (Corps)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D4838A4-4DE3-4DB5-9064-2EF823311BF2}"/>
              </a:ext>
            </a:extLst>
          </p:cNvPr>
          <p:cNvSpPr/>
          <p:nvPr/>
        </p:nvSpPr>
        <p:spPr>
          <a:xfrm>
            <a:off x="281145" y="972954"/>
            <a:ext cx="2320740" cy="114834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defTabSz="40005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fr-FR" sz="1000" kern="0" dirty="0" err="1">
                <a:solidFill>
                  <a:srgbClr val="4D4F53"/>
                </a:solidFill>
              </a:rPr>
              <a:t>Predict</a:t>
            </a:r>
            <a:r>
              <a:rPr lang="fr-FR" sz="1000" kern="0" dirty="0">
                <a:solidFill>
                  <a:srgbClr val="4D4F53"/>
                </a:solidFill>
              </a:rPr>
              <a:t> </a:t>
            </a:r>
            <a:r>
              <a:rPr lang="fr-FR" sz="1000" kern="0" dirty="0" err="1">
                <a:solidFill>
                  <a:srgbClr val="4D4F53"/>
                </a:solidFill>
              </a:rPr>
              <a:t>delays</a:t>
            </a:r>
            <a:r>
              <a:rPr lang="fr-FR" sz="1000" kern="0" dirty="0">
                <a:solidFill>
                  <a:srgbClr val="4D4F53"/>
                </a:solidFill>
              </a:rPr>
              <a:t> </a:t>
            </a:r>
            <a:r>
              <a:rPr lang="fr-FR" sz="1000" kern="0" dirty="0" err="1">
                <a:solidFill>
                  <a:srgbClr val="4D4F53"/>
                </a:solidFill>
              </a:rPr>
              <a:t>higher</a:t>
            </a:r>
            <a:r>
              <a:rPr lang="fr-FR" sz="1000" kern="0" dirty="0">
                <a:solidFill>
                  <a:srgbClr val="4D4F53"/>
                </a:solidFill>
              </a:rPr>
              <a:t> </a:t>
            </a:r>
            <a:r>
              <a:rPr lang="fr-FR" sz="1000" kern="0" dirty="0" err="1">
                <a:solidFill>
                  <a:srgbClr val="4D4F53"/>
                </a:solidFill>
              </a:rPr>
              <a:t>than</a:t>
            </a:r>
            <a:r>
              <a:rPr lang="fr-FR" sz="1000" kern="0" dirty="0">
                <a:solidFill>
                  <a:srgbClr val="4D4F53"/>
                </a:solidFill>
              </a:rPr>
              <a:t> 2 min 30 s</a:t>
            </a:r>
          </a:p>
          <a:p>
            <a:pPr marL="171450" indent="-171450" defTabSz="40005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1000" kern="0" dirty="0">
                <a:solidFill>
                  <a:srgbClr val="4D4F53"/>
                </a:solidFill>
              </a:rPr>
              <a:t>in the </a:t>
            </a:r>
            <a:r>
              <a:rPr lang="fr-FR" sz="1000" kern="0" dirty="0" err="1">
                <a:solidFill>
                  <a:srgbClr val="4D4F53"/>
                </a:solidFill>
              </a:rPr>
              <a:t>next</a:t>
            </a:r>
            <a:r>
              <a:rPr lang="fr-FR" sz="1000" kern="0" dirty="0">
                <a:solidFill>
                  <a:srgbClr val="4D4F53"/>
                </a:solidFill>
              </a:rPr>
              <a:t> 7 </a:t>
            </a:r>
            <a:r>
              <a:rPr lang="fr-FR" sz="1000" kern="0" dirty="0" err="1">
                <a:solidFill>
                  <a:srgbClr val="4D4F53"/>
                </a:solidFill>
              </a:rPr>
              <a:t>days</a:t>
            </a:r>
            <a:endParaRPr lang="fr-FR" sz="1000" kern="0" dirty="0">
              <a:solidFill>
                <a:srgbClr val="4D4F53"/>
              </a:solidFill>
            </a:endParaRPr>
          </a:p>
          <a:p>
            <a:pPr marL="171450" indent="-171450" defTabSz="40005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1000" kern="0" dirty="0">
                <a:solidFill>
                  <a:srgbClr val="4D4F53"/>
                </a:solidFill>
              </a:rPr>
              <a:t>at </a:t>
            </a:r>
            <a:r>
              <a:rPr lang="fr-FR" sz="1000" kern="0" dirty="0" err="1">
                <a:solidFill>
                  <a:srgbClr val="4D4F53"/>
                </a:solidFill>
              </a:rPr>
              <a:t>each</a:t>
            </a:r>
            <a:r>
              <a:rPr lang="fr-FR" sz="1000" kern="0" dirty="0">
                <a:solidFill>
                  <a:srgbClr val="4D4F53"/>
                </a:solidFill>
              </a:rPr>
              <a:t> train stop</a:t>
            </a:r>
          </a:p>
          <a:p>
            <a:pPr defTabSz="40005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fr-FR" sz="1000" kern="0" dirty="0">
                <a:solidFill>
                  <a:srgbClr val="4D4F53"/>
                </a:solidFill>
              </a:rPr>
              <a:t>900 000 </a:t>
            </a:r>
            <a:r>
              <a:rPr lang="fr-FR" sz="1000" kern="0" dirty="0" err="1">
                <a:solidFill>
                  <a:srgbClr val="4D4F53"/>
                </a:solidFill>
              </a:rPr>
              <a:t>predictions</a:t>
            </a:r>
            <a:r>
              <a:rPr lang="fr-FR" sz="1000" kern="0" dirty="0">
                <a:solidFill>
                  <a:srgbClr val="4D4F53"/>
                </a:solidFill>
              </a:rPr>
              <a:t> </a:t>
            </a:r>
            <a:r>
              <a:rPr lang="fr-FR" sz="1000" kern="0" dirty="0" err="1">
                <a:solidFill>
                  <a:srgbClr val="4D4F53"/>
                </a:solidFill>
              </a:rPr>
              <a:t>everyday</a:t>
            </a:r>
            <a:endParaRPr lang="fr-FR" sz="1000" kern="0" dirty="0">
              <a:solidFill>
                <a:srgbClr val="4D4F5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733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BhJEmHTk.aaevuALWfA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8ZfRE4MYEWcMTZtXPBIp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djYLAm150a4.YhzpxMtb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hh5HTbhEiL_dtk5WTZO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5vtQKplkqiHvYE890J7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g8UD6bcqEejlOKhwauLI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IMQgAfrEaCj9cj1I9.d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.TTP4jl4kyT9_vfkG_m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eSFeXCY0Kdjw.by3ECF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0VueyQRq0ujzQ.KLWTEl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.E2ac7UEKg9NHnJt.la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77Hkn3JkifmGAzag7o3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YxDqRIRkiEQ7DYedorH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vjrKdkjs06UU3xsERRI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J3aL2sNEK0OWiRlSEnU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88HwgPCUeIrJ2y4sZW0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WeS31CCE6zMwuBT1Ozj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hDnQTuDki0sQOBPaGnE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997n8YaUiAL1w3FwmPC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.XNz7QMRkSG3yWqf6i3R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vBNhuGf0qKwuCqW6nTx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Uo5eM9l06o4rkKhUyMo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XOKFX0Zk2bcehMRcfAp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upiytaLUOw7uLlcwSwZw"/>
</p:tagLst>
</file>

<file path=ppt/theme/theme1.xml><?xml version="1.0" encoding="utf-8"?>
<a:theme xmlns:a="http://schemas.openxmlformats.org/drawingml/2006/main" name="2_Thème Office">
  <a:themeElements>
    <a:clrScheme name="Thèm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hème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tenus">
  <a:themeElements>
    <a:clrScheme name="SNCF">
      <a:dk1>
        <a:srgbClr val="3C3732"/>
      </a:dk1>
      <a:lt1>
        <a:sysClr val="window" lastClr="FFFFFF"/>
      </a:lt1>
      <a:dk2>
        <a:srgbClr val="82BE00"/>
      </a:dk2>
      <a:lt2>
        <a:srgbClr val="D2E100"/>
      </a:lt2>
      <a:accent1>
        <a:srgbClr val="009AA6"/>
      </a:accent1>
      <a:accent2>
        <a:srgbClr val="CD0037"/>
      </a:accent2>
      <a:accent3>
        <a:srgbClr val="A0A0A0"/>
      </a:accent3>
      <a:accent4>
        <a:srgbClr val="E05206"/>
      </a:accent4>
      <a:accent5>
        <a:srgbClr val="FFB612"/>
      </a:accent5>
      <a:accent6>
        <a:srgbClr val="A1006B"/>
      </a:accent6>
      <a:hlink>
        <a:srgbClr val="E05206"/>
      </a:hlink>
      <a:folHlink>
        <a:srgbClr val="FFB612"/>
      </a:folHlink>
    </a:clrScheme>
    <a:fontScheme name="SNCF AVENIR">
      <a:majorFont>
        <a:latin typeface="Avenir LT Std 45 Book"/>
        <a:ea typeface=""/>
        <a:cs typeface=""/>
      </a:majorFont>
      <a:minorFont>
        <a:latin typeface="Avenir LT Std 45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e.SNCF_Presentation_16-9_Avenir">
  <a:themeElements>
    <a:clrScheme name="SNCF">
      <a:dk1>
        <a:srgbClr val="3C3732"/>
      </a:dk1>
      <a:lt1>
        <a:sysClr val="window" lastClr="FFFFFF"/>
      </a:lt1>
      <a:dk2>
        <a:srgbClr val="82BE00"/>
      </a:dk2>
      <a:lt2>
        <a:srgbClr val="D2E100"/>
      </a:lt2>
      <a:accent1>
        <a:srgbClr val="009AA6"/>
      </a:accent1>
      <a:accent2>
        <a:srgbClr val="CD0037"/>
      </a:accent2>
      <a:accent3>
        <a:srgbClr val="A0A0A0"/>
      </a:accent3>
      <a:accent4>
        <a:srgbClr val="E05206"/>
      </a:accent4>
      <a:accent5>
        <a:srgbClr val="FFB612"/>
      </a:accent5>
      <a:accent6>
        <a:srgbClr val="A1006B"/>
      </a:accent6>
      <a:hlink>
        <a:srgbClr val="E05206"/>
      </a:hlink>
      <a:folHlink>
        <a:srgbClr val="FFB612"/>
      </a:folHlink>
    </a:clrScheme>
    <a:fontScheme name="SNCF AVENIR">
      <a:majorFont>
        <a:latin typeface="Avenir LT Std 45 Book"/>
        <a:ea typeface=""/>
        <a:cs typeface=""/>
      </a:majorFont>
      <a:minorFont>
        <a:latin typeface="Avenir LT Std 45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2_e.SNCF_Presentation_16-9_Avenir">
  <a:themeElements>
    <a:clrScheme name="SNCF">
      <a:dk1>
        <a:srgbClr val="3C3732"/>
      </a:dk1>
      <a:lt1>
        <a:sysClr val="window" lastClr="FFFFFF"/>
      </a:lt1>
      <a:dk2>
        <a:srgbClr val="82BE00"/>
      </a:dk2>
      <a:lt2>
        <a:srgbClr val="D2E100"/>
      </a:lt2>
      <a:accent1>
        <a:srgbClr val="009AA6"/>
      </a:accent1>
      <a:accent2>
        <a:srgbClr val="CD0037"/>
      </a:accent2>
      <a:accent3>
        <a:srgbClr val="A0A0A0"/>
      </a:accent3>
      <a:accent4>
        <a:srgbClr val="E05206"/>
      </a:accent4>
      <a:accent5>
        <a:srgbClr val="FFB612"/>
      </a:accent5>
      <a:accent6>
        <a:srgbClr val="A1006B"/>
      </a:accent6>
      <a:hlink>
        <a:srgbClr val="E05206"/>
      </a:hlink>
      <a:folHlink>
        <a:srgbClr val="FFB612"/>
      </a:folHlink>
    </a:clrScheme>
    <a:fontScheme name="SNCF AVENIR">
      <a:majorFont>
        <a:latin typeface="Avenir LT Std 45 Book"/>
        <a:ea typeface=""/>
        <a:cs typeface=""/>
      </a:majorFont>
      <a:minorFont>
        <a:latin typeface="Avenir LT Std 45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.xml><?xml version="1.0" encoding="utf-8"?>
<a:theme xmlns:a="http://schemas.openxmlformats.org/drawingml/2006/main" name="1_Contenus">
  <a:themeElements>
    <a:clrScheme name="Personnalisé 2">
      <a:dk1>
        <a:srgbClr val="3C3732"/>
      </a:dk1>
      <a:lt1>
        <a:sysClr val="window" lastClr="FFFFFF"/>
      </a:lt1>
      <a:dk2>
        <a:srgbClr val="82BE00"/>
      </a:dk2>
      <a:lt2>
        <a:srgbClr val="D2E100"/>
      </a:lt2>
      <a:accent1>
        <a:srgbClr val="82BE00"/>
      </a:accent1>
      <a:accent2>
        <a:srgbClr val="CD0037"/>
      </a:accent2>
      <a:accent3>
        <a:srgbClr val="A0A0A0"/>
      </a:accent3>
      <a:accent4>
        <a:srgbClr val="E05206"/>
      </a:accent4>
      <a:accent5>
        <a:srgbClr val="FFB612"/>
      </a:accent5>
      <a:accent6>
        <a:srgbClr val="A1006B"/>
      </a:accent6>
      <a:hlink>
        <a:srgbClr val="E05206"/>
      </a:hlink>
      <a:folHlink>
        <a:srgbClr val="FFB612"/>
      </a:folHlink>
    </a:clrScheme>
    <a:fontScheme name="SNCF AVENIR">
      <a:majorFont>
        <a:latin typeface="Avenir LT Std 45 Book"/>
        <a:ea typeface=""/>
        <a:cs typeface=""/>
      </a:majorFont>
      <a:minorFont>
        <a:latin typeface="Avenir LT Std 45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2_Contenus">
  <a:themeElements>
    <a:clrScheme name="Personnalisé 2">
      <a:dk1>
        <a:srgbClr val="3C3732"/>
      </a:dk1>
      <a:lt1>
        <a:sysClr val="window" lastClr="FFFFFF"/>
      </a:lt1>
      <a:dk2>
        <a:srgbClr val="82BE00"/>
      </a:dk2>
      <a:lt2>
        <a:srgbClr val="D2E100"/>
      </a:lt2>
      <a:accent1>
        <a:srgbClr val="82BE00"/>
      </a:accent1>
      <a:accent2>
        <a:srgbClr val="CD0037"/>
      </a:accent2>
      <a:accent3>
        <a:srgbClr val="A0A0A0"/>
      </a:accent3>
      <a:accent4>
        <a:srgbClr val="E05206"/>
      </a:accent4>
      <a:accent5>
        <a:srgbClr val="FFB612"/>
      </a:accent5>
      <a:accent6>
        <a:srgbClr val="A1006B"/>
      </a:accent6>
      <a:hlink>
        <a:srgbClr val="E05206"/>
      </a:hlink>
      <a:folHlink>
        <a:srgbClr val="FFB612"/>
      </a:folHlink>
    </a:clrScheme>
    <a:fontScheme name="SNCF AVENIR">
      <a:majorFont>
        <a:latin typeface="Avenir LT Std 45 Book"/>
        <a:ea typeface=""/>
        <a:cs typeface=""/>
      </a:majorFont>
      <a:minorFont>
        <a:latin typeface="Avenir LT Std 45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3_Contenus">
  <a:themeElements>
    <a:clrScheme name="SNCF">
      <a:dk1>
        <a:srgbClr val="3C3732"/>
      </a:dk1>
      <a:lt1>
        <a:sysClr val="window" lastClr="FFFFFF"/>
      </a:lt1>
      <a:dk2>
        <a:srgbClr val="82BE00"/>
      </a:dk2>
      <a:lt2>
        <a:srgbClr val="D2E100"/>
      </a:lt2>
      <a:accent1>
        <a:srgbClr val="009AA6"/>
      </a:accent1>
      <a:accent2>
        <a:srgbClr val="CD0037"/>
      </a:accent2>
      <a:accent3>
        <a:srgbClr val="A0A0A0"/>
      </a:accent3>
      <a:accent4>
        <a:srgbClr val="E05206"/>
      </a:accent4>
      <a:accent5>
        <a:srgbClr val="FFB612"/>
      </a:accent5>
      <a:accent6>
        <a:srgbClr val="A1006B"/>
      </a:accent6>
      <a:hlink>
        <a:srgbClr val="E05206"/>
      </a:hlink>
      <a:folHlink>
        <a:srgbClr val="FFB612"/>
      </a:folHlink>
    </a:clrScheme>
    <a:fontScheme name="SNCF AVENIR">
      <a:majorFont>
        <a:latin typeface="Avenir LT Std 45 Book"/>
        <a:ea typeface=""/>
        <a:cs typeface=""/>
      </a:majorFont>
      <a:minorFont>
        <a:latin typeface="Avenir LT Std 45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9_Contenus">
  <a:themeElements>
    <a:clrScheme name="SNCF">
      <a:dk1>
        <a:srgbClr val="3C3732"/>
      </a:dk1>
      <a:lt1>
        <a:sysClr val="window" lastClr="FFFFFF"/>
      </a:lt1>
      <a:dk2>
        <a:srgbClr val="82BE00"/>
      </a:dk2>
      <a:lt2>
        <a:srgbClr val="D2E100"/>
      </a:lt2>
      <a:accent1>
        <a:srgbClr val="009AA6"/>
      </a:accent1>
      <a:accent2>
        <a:srgbClr val="CD0037"/>
      </a:accent2>
      <a:accent3>
        <a:srgbClr val="A0A0A0"/>
      </a:accent3>
      <a:accent4>
        <a:srgbClr val="E05206"/>
      </a:accent4>
      <a:accent5>
        <a:srgbClr val="FFB612"/>
      </a:accent5>
      <a:accent6>
        <a:srgbClr val="A1006B"/>
      </a:accent6>
      <a:hlink>
        <a:srgbClr val="E05206"/>
      </a:hlink>
      <a:folHlink>
        <a:srgbClr val="FFB612"/>
      </a:folHlink>
    </a:clrScheme>
    <a:fontScheme name="SNCF AVENIR">
      <a:majorFont>
        <a:latin typeface="Avenir LT Std 45 Book"/>
        <a:ea typeface=""/>
        <a:cs typeface=""/>
      </a:majorFont>
      <a:minorFont>
        <a:latin typeface="Avenir LT Std 45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Bureau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52491D15A090F49AB0F2CDA728D1FCA" ma:contentTypeVersion="12" ma:contentTypeDescription="Crée un document." ma:contentTypeScope="" ma:versionID="73f29e42d230aad07cc1ad129ba31d45">
  <xsd:schema xmlns:xsd="http://www.w3.org/2001/XMLSchema" xmlns:xs="http://www.w3.org/2001/XMLSchema" xmlns:p="http://schemas.microsoft.com/office/2006/metadata/properties" xmlns:ns2="7243f64c-1c25-4e9a-9157-39f9fee5df30" xmlns:ns3="e07ad913-9ba2-459b-b029-b8ec8ed7040f" targetNamespace="http://schemas.microsoft.com/office/2006/metadata/properties" ma:root="true" ma:fieldsID="8186fe893cbafd33ee6845594aa07621" ns2:_="" ns3:_="">
    <xsd:import namespace="7243f64c-1c25-4e9a-9157-39f9fee5df30"/>
    <xsd:import namespace="e07ad913-9ba2-459b-b029-b8ec8ed7040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43f64c-1c25-4e9a-9157-39f9fee5df3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7ad913-9ba2-459b-b029-b8ec8ed7040f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FDC5B3ED-09E7-4B61-8DBC-6829A8F9563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4E06128-C967-4673-9633-7C1FB9E25151}">
  <ds:schemaRefs>
    <ds:schemaRef ds:uri="7243f64c-1c25-4e9a-9157-39f9fee5df30"/>
    <ds:schemaRef ds:uri="e07ad913-9ba2-459b-b029-b8ec8ed7040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2436AF57-937C-47B4-96D4-1ABD095817EB}">
  <ds:schemaRefs>
    <ds:schemaRef ds:uri="7243f64c-1c25-4e9a-9157-39f9fee5df30"/>
    <ds:schemaRef ds:uri="e07ad913-9ba2-459b-b029-b8ec8ed7040f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00</TotalTime>
  <Words>932</Words>
  <Application>Microsoft Office PowerPoint</Application>
  <PresentationFormat>Affichage à l'écran (16:9)</PresentationFormat>
  <Paragraphs>298</Paragraphs>
  <Slides>39</Slides>
  <Notes>13</Notes>
  <HiddenSlides>0</HiddenSlides>
  <MMClips>0</MMClips>
  <ScaleCrop>false</ScaleCrop>
  <HeadingPairs>
    <vt:vector size="8" baseType="variant">
      <vt:variant>
        <vt:lpstr>Polices utilisées</vt:lpstr>
      </vt:variant>
      <vt:variant>
        <vt:i4>19</vt:i4>
      </vt:variant>
      <vt:variant>
        <vt:lpstr>Thème</vt:lpstr>
      </vt:variant>
      <vt:variant>
        <vt:i4>8</vt:i4>
      </vt:variant>
      <vt:variant>
        <vt:lpstr>Serveurs OLE incorporés</vt:lpstr>
      </vt:variant>
      <vt:variant>
        <vt:i4>2</vt:i4>
      </vt:variant>
      <vt:variant>
        <vt:lpstr>Titres des diapositives</vt:lpstr>
      </vt:variant>
      <vt:variant>
        <vt:i4>39</vt:i4>
      </vt:variant>
    </vt:vector>
  </HeadingPairs>
  <TitlesOfParts>
    <vt:vector size="68" baseType="lpstr">
      <vt:lpstr>Arial</vt:lpstr>
      <vt:lpstr>Avenir Black</vt:lpstr>
      <vt:lpstr>Avenir Book</vt:lpstr>
      <vt:lpstr>Avenir Heavy</vt:lpstr>
      <vt:lpstr>Avenir Light</vt:lpstr>
      <vt:lpstr>Avenir LT Std 35 Light</vt:lpstr>
      <vt:lpstr>Avenir LT Std 45 Book</vt:lpstr>
      <vt:lpstr>Avenir LT Std 45 Book (Corps)</vt:lpstr>
      <vt:lpstr>Avenir LT Std 55 Roman</vt:lpstr>
      <vt:lpstr>Avenir LT Std 65 Medium</vt:lpstr>
      <vt:lpstr>Avenir LT Std 95 Black</vt:lpstr>
      <vt:lpstr>Calibri</vt:lpstr>
      <vt:lpstr>Calibri Light</vt:lpstr>
      <vt:lpstr>Cambria Math</vt:lpstr>
      <vt:lpstr>Corbel</vt:lpstr>
      <vt:lpstr>CoreHumanistSans-Regular</vt:lpstr>
      <vt:lpstr>Helvetica Neue</vt:lpstr>
      <vt:lpstr>Helvetica Neue Medium</vt:lpstr>
      <vt:lpstr>Lucida Grande</vt:lpstr>
      <vt:lpstr>2_Thème Office</vt:lpstr>
      <vt:lpstr>Contenus</vt:lpstr>
      <vt:lpstr>1_e.SNCF_Presentation_16-9_Avenir</vt:lpstr>
      <vt:lpstr>2_e.SNCF_Presentation_16-9_Avenir</vt:lpstr>
      <vt:lpstr>1_Contenus</vt:lpstr>
      <vt:lpstr>2_Contenus</vt:lpstr>
      <vt:lpstr>3_Contenus</vt:lpstr>
      <vt:lpstr>9_Contenus</vt:lpstr>
      <vt:lpstr>think-cell Slide</vt:lpstr>
      <vt:lpstr>Diapositive think-cell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Delay predictions</vt:lpstr>
      <vt:lpstr>Delay predictions</vt:lpstr>
      <vt:lpstr>Predict energy consumption</vt:lpstr>
      <vt:lpstr>Predict freight wagons breakdowns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lande benoit</dc:creator>
  <cp:lastModifiedBy>charpak</cp:lastModifiedBy>
  <cp:revision>16</cp:revision>
  <dcterms:modified xsi:type="dcterms:W3CDTF">2022-01-17T14:18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52491D15A090F49AB0F2CDA728D1FCA</vt:lpwstr>
  </property>
  <property fmtid="{D5CDD505-2E9C-101B-9397-08002B2CF9AE}" pid="3" name="MSIP_Label_c8d3f7c8-5c4b-4ab6-9486-a0a9eb08efa7_Enabled">
    <vt:lpwstr>true</vt:lpwstr>
  </property>
  <property fmtid="{D5CDD505-2E9C-101B-9397-08002B2CF9AE}" pid="4" name="MSIP_Label_c8d3f7c8-5c4b-4ab6-9486-a0a9eb08efa7_SetDate">
    <vt:lpwstr>2022-01-13T04:46:35Z</vt:lpwstr>
  </property>
  <property fmtid="{D5CDD505-2E9C-101B-9397-08002B2CF9AE}" pid="5" name="MSIP_Label_c8d3f7c8-5c4b-4ab6-9486-a0a9eb08efa7_Method">
    <vt:lpwstr>Standard</vt:lpwstr>
  </property>
  <property fmtid="{D5CDD505-2E9C-101B-9397-08002B2CF9AE}" pid="6" name="MSIP_Label_c8d3f7c8-5c4b-4ab6-9486-a0a9eb08efa7_Name">
    <vt:lpwstr>Interne - Groupe</vt:lpwstr>
  </property>
  <property fmtid="{D5CDD505-2E9C-101B-9397-08002B2CF9AE}" pid="7" name="MSIP_Label_c8d3f7c8-5c4b-4ab6-9486-a0a9eb08efa7_SiteId">
    <vt:lpwstr>4a7c8238-5799-4b16-9fc6-9ad8fce5a7d9</vt:lpwstr>
  </property>
  <property fmtid="{D5CDD505-2E9C-101B-9397-08002B2CF9AE}" pid="8" name="MSIP_Label_c8d3f7c8-5c4b-4ab6-9486-a0a9eb08efa7_ActionId">
    <vt:lpwstr>2d9bfcf1-0996-4d4f-8043-6f0089f98402</vt:lpwstr>
  </property>
  <property fmtid="{D5CDD505-2E9C-101B-9397-08002B2CF9AE}" pid="9" name="MSIP_Label_c8d3f7c8-5c4b-4ab6-9486-a0a9eb08efa7_ContentBits">
    <vt:lpwstr>2</vt:lpwstr>
  </property>
</Properties>
</file>